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54" r:id="rId5"/>
    <p:sldMasterId id="2147484201" r:id="rId6"/>
    <p:sldMasterId id="2147483715" r:id="rId7"/>
    <p:sldMasterId id="2147484262" r:id="rId8"/>
  </p:sldMasterIdLst>
  <p:notesMasterIdLst>
    <p:notesMasterId r:id="rId27"/>
  </p:notesMasterIdLst>
  <p:handoutMasterIdLst>
    <p:handoutMasterId r:id="rId28"/>
  </p:handoutMasterIdLst>
  <p:sldIdLst>
    <p:sldId id="141169999" r:id="rId9"/>
    <p:sldId id="141170089" r:id="rId10"/>
    <p:sldId id="141170042" r:id="rId11"/>
    <p:sldId id="141170077" r:id="rId12"/>
    <p:sldId id="141170048" r:id="rId13"/>
    <p:sldId id="141170050" r:id="rId14"/>
    <p:sldId id="141170053" r:id="rId15"/>
    <p:sldId id="141170054" r:id="rId16"/>
    <p:sldId id="141170055" r:id="rId17"/>
    <p:sldId id="141170060" r:id="rId18"/>
    <p:sldId id="141170063" r:id="rId19"/>
    <p:sldId id="141170064" r:id="rId20"/>
    <p:sldId id="141170051" r:id="rId21"/>
    <p:sldId id="141170075" r:id="rId22"/>
    <p:sldId id="141170076" r:id="rId23"/>
    <p:sldId id="141170052" r:id="rId24"/>
    <p:sldId id="141170090" r:id="rId25"/>
    <p:sldId id="141170049"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 id="2" name="Karthik Koneru" initials="KK" lastIdx="4" clrIdx="1">
    <p:extLst>
      <p:ext uri="{19B8F6BF-5375-455C-9EA6-DF929625EA0E}">
        <p15:presenceInfo xmlns:p15="http://schemas.microsoft.com/office/powerpoint/2012/main" userId="S-1-5-21-1275210071-583907252-839522115-57870" providerId="AD"/>
      </p:ext>
    </p:extLst>
  </p:cmAuthor>
  <p:cmAuthor id="3" name="Krishna" initials="K" lastIdx="1" clrIdx="2">
    <p:extLst>
      <p:ext uri="{19B8F6BF-5375-455C-9EA6-DF929625EA0E}">
        <p15:presenceInfo xmlns:p15="http://schemas.microsoft.com/office/powerpoint/2012/main" userId="S::krish@qti.qualcomm.com::03913925-7faf-41c0-9f3f-c33fe69bd76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E04F4F"/>
    <a:srgbClr val="000000"/>
    <a:srgbClr val="F816D8"/>
    <a:srgbClr val="FFFF99"/>
    <a:srgbClr val="6AB19B"/>
    <a:srgbClr val="190000"/>
    <a:srgbClr val="DDDFE5"/>
    <a:srgbClr val="E05050"/>
    <a:srgbClr val="294D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6DA939-A888-4096-93B5-9E90BEDFD681}" v="16" dt="2023-07-28T06:38:33.0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69" autoAdjust="0"/>
    <p:restoredTop sz="92288" autoAdjust="0"/>
  </p:normalViewPr>
  <p:slideViewPr>
    <p:cSldViewPr snapToGrid="0">
      <p:cViewPr varScale="1">
        <p:scale>
          <a:sx n="76" d="100"/>
          <a:sy n="76" d="100"/>
        </p:scale>
        <p:origin x="307" y="58"/>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ayya\Downloads\Copy%20of%202023_Summer_Skill_Up(213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2023_Summer_Skill_Up'!$B$1</c:f>
              <c:strCache>
                <c:ptCount val="1"/>
                <c:pt idx="0">
                  <c:v>Time Spent</c:v>
                </c:pt>
              </c:strCache>
            </c:strRef>
          </c:tx>
          <c:spPr>
            <a:solidFill>
              <a:schemeClr val="accent1"/>
            </a:solidFill>
            <a:ln>
              <a:noFill/>
            </a:ln>
            <a:effectLst/>
          </c:spPr>
          <c:invertIfNegative val="0"/>
          <c:cat>
            <c:strRef>
              <c:f>'2023_Summer_Skill_Up'!$A$2:$A$14</c:f>
              <c:strCache>
                <c:ptCount val="13"/>
                <c:pt idx="0">
                  <c:v>Python</c:v>
                </c:pt>
                <c:pt idx="1">
                  <c:v>Java</c:v>
                </c:pt>
                <c:pt idx="2">
                  <c:v>C++</c:v>
                </c:pt>
                <c:pt idx="3">
                  <c:v>Math for data Science</c:v>
                </c:pt>
                <c:pt idx="4">
                  <c:v>DataEngineering</c:v>
                </c:pt>
                <c:pt idx="5">
                  <c:v>Basics  of AIML</c:v>
                </c:pt>
                <c:pt idx="6">
                  <c:v>ML libs in python</c:v>
                </c:pt>
                <c:pt idx="7">
                  <c:v>ChatGPT</c:v>
                </c:pt>
                <c:pt idx="8">
                  <c:v>Microsoft Excel</c:v>
                </c:pt>
                <c:pt idx="9">
                  <c:v>Clean code</c:v>
                </c:pt>
                <c:pt idx="10">
                  <c:v>GitHub</c:v>
                </c:pt>
                <c:pt idx="11">
                  <c:v>Regular Expressions</c:v>
                </c:pt>
                <c:pt idx="12">
                  <c:v>Better Power Point </c:v>
                </c:pt>
              </c:strCache>
            </c:strRef>
          </c:cat>
          <c:val>
            <c:numRef>
              <c:f>'2023_Summer_Skill_Up'!$B$2:$B$14</c:f>
              <c:numCache>
                <c:formatCode>General</c:formatCode>
                <c:ptCount val="13"/>
                <c:pt idx="0">
                  <c:v>8</c:v>
                </c:pt>
                <c:pt idx="1">
                  <c:v>6</c:v>
                </c:pt>
                <c:pt idx="2">
                  <c:v>1</c:v>
                </c:pt>
                <c:pt idx="3">
                  <c:v>3</c:v>
                </c:pt>
                <c:pt idx="4">
                  <c:v>1</c:v>
                </c:pt>
                <c:pt idx="5">
                  <c:v>3</c:v>
                </c:pt>
                <c:pt idx="6">
                  <c:v>6</c:v>
                </c:pt>
                <c:pt idx="7">
                  <c:v>5</c:v>
                </c:pt>
                <c:pt idx="8">
                  <c:v>8</c:v>
                </c:pt>
                <c:pt idx="9">
                  <c:v>1</c:v>
                </c:pt>
                <c:pt idx="10">
                  <c:v>1</c:v>
                </c:pt>
                <c:pt idx="11">
                  <c:v>1</c:v>
                </c:pt>
                <c:pt idx="12">
                  <c:v>1</c:v>
                </c:pt>
              </c:numCache>
            </c:numRef>
          </c:val>
          <c:extLst>
            <c:ext xmlns:c16="http://schemas.microsoft.com/office/drawing/2014/chart" uri="{C3380CC4-5D6E-409C-BE32-E72D297353CC}">
              <c16:uniqueId val="{00000000-7405-4F70-9725-538E6DC25A3C}"/>
            </c:ext>
          </c:extLst>
        </c:ser>
        <c:dLbls>
          <c:showLegendKey val="0"/>
          <c:showVal val="0"/>
          <c:showCatName val="0"/>
          <c:showSerName val="0"/>
          <c:showPercent val="0"/>
          <c:showBubbleSize val="0"/>
        </c:dLbls>
        <c:gapWidth val="219"/>
        <c:axId val="1471606207"/>
        <c:axId val="1471616767"/>
      </c:barChart>
      <c:lineChart>
        <c:grouping val="standard"/>
        <c:varyColors val="0"/>
        <c:ser>
          <c:idx val="1"/>
          <c:order val="1"/>
          <c:tx>
            <c:strRef>
              <c:f>'2023_Summer_Skill_Up'!$C$1</c:f>
              <c:strCache>
                <c:ptCount val="1"/>
                <c:pt idx="0">
                  <c:v>Confidence (off 10)</c:v>
                </c:pt>
              </c:strCache>
            </c:strRef>
          </c:tx>
          <c:spPr>
            <a:ln w="28575" cap="rnd">
              <a:solidFill>
                <a:srgbClr val="FF0000"/>
              </a:solidFill>
              <a:round/>
            </a:ln>
            <a:effectLst/>
          </c:spPr>
          <c:marker>
            <c:symbol val="none"/>
          </c:marker>
          <c:cat>
            <c:strRef>
              <c:f>'2023_Summer_Skill_Up'!$A$2:$A$14</c:f>
              <c:strCache>
                <c:ptCount val="13"/>
                <c:pt idx="0">
                  <c:v>Python</c:v>
                </c:pt>
                <c:pt idx="1">
                  <c:v>Java</c:v>
                </c:pt>
                <c:pt idx="2">
                  <c:v>C++</c:v>
                </c:pt>
                <c:pt idx="3">
                  <c:v>Math for data Science</c:v>
                </c:pt>
                <c:pt idx="4">
                  <c:v>DataEngineering</c:v>
                </c:pt>
                <c:pt idx="5">
                  <c:v>Basics  of AIML</c:v>
                </c:pt>
                <c:pt idx="6">
                  <c:v>ML libs in python</c:v>
                </c:pt>
                <c:pt idx="7">
                  <c:v>ChatGPT</c:v>
                </c:pt>
                <c:pt idx="8">
                  <c:v>Microsoft Excel</c:v>
                </c:pt>
                <c:pt idx="9">
                  <c:v>Clean code</c:v>
                </c:pt>
                <c:pt idx="10">
                  <c:v>GitHub</c:v>
                </c:pt>
                <c:pt idx="11">
                  <c:v>Regular Expressions</c:v>
                </c:pt>
                <c:pt idx="12">
                  <c:v>Better Power Point </c:v>
                </c:pt>
              </c:strCache>
            </c:strRef>
          </c:cat>
          <c:val>
            <c:numRef>
              <c:f>'2023_Summer_Skill_Up'!$C$2:$C$14</c:f>
              <c:numCache>
                <c:formatCode>General</c:formatCode>
                <c:ptCount val="13"/>
                <c:pt idx="0">
                  <c:v>7</c:v>
                </c:pt>
                <c:pt idx="1">
                  <c:v>6</c:v>
                </c:pt>
                <c:pt idx="2">
                  <c:v>4</c:v>
                </c:pt>
                <c:pt idx="3">
                  <c:v>4</c:v>
                </c:pt>
                <c:pt idx="4">
                  <c:v>3</c:v>
                </c:pt>
                <c:pt idx="5">
                  <c:v>4</c:v>
                </c:pt>
                <c:pt idx="6">
                  <c:v>6</c:v>
                </c:pt>
                <c:pt idx="7">
                  <c:v>5</c:v>
                </c:pt>
                <c:pt idx="8">
                  <c:v>8</c:v>
                </c:pt>
                <c:pt idx="9">
                  <c:v>8</c:v>
                </c:pt>
                <c:pt idx="10">
                  <c:v>5</c:v>
                </c:pt>
                <c:pt idx="11">
                  <c:v>3</c:v>
                </c:pt>
                <c:pt idx="12">
                  <c:v>5</c:v>
                </c:pt>
              </c:numCache>
            </c:numRef>
          </c:val>
          <c:smooth val="0"/>
          <c:extLst>
            <c:ext xmlns:c16="http://schemas.microsoft.com/office/drawing/2014/chart" uri="{C3380CC4-5D6E-409C-BE32-E72D297353CC}">
              <c16:uniqueId val="{00000001-7405-4F70-9725-538E6DC25A3C}"/>
            </c:ext>
          </c:extLst>
        </c:ser>
        <c:dLbls>
          <c:showLegendKey val="0"/>
          <c:showVal val="0"/>
          <c:showCatName val="0"/>
          <c:showSerName val="0"/>
          <c:showPercent val="0"/>
          <c:showBubbleSize val="0"/>
        </c:dLbls>
        <c:marker val="1"/>
        <c:smooth val="0"/>
        <c:axId val="1583812591"/>
        <c:axId val="1583815471"/>
      </c:lineChart>
      <c:catAx>
        <c:axId val="147160620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1616767"/>
        <c:crosses val="autoZero"/>
        <c:auto val="1"/>
        <c:lblAlgn val="ctr"/>
        <c:lblOffset val="100"/>
        <c:noMultiLvlLbl val="0"/>
      </c:catAx>
      <c:valAx>
        <c:axId val="14716167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N" sz="1800" baseline="0" dirty="0"/>
                  <a:t>Time Spent</a:t>
                </a:r>
              </a:p>
            </c:rich>
          </c:tx>
          <c:layout>
            <c:manualLayout>
              <c:xMode val="edge"/>
              <c:yMode val="edge"/>
              <c:x val="5.466647681185796E-3"/>
              <c:y val="0.2673535759971749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1606207"/>
        <c:crosses val="autoZero"/>
        <c:crossBetween val="between"/>
      </c:valAx>
      <c:valAx>
        <c:axId val="1583815471"/>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N" sz="1800" dirty="0"/>
                  <a:t>Confidence</a:t>
                </a:r>
                <a:r>
                  <a:rPr lang="en-IN" sz="1800" baseline="0" dirty="0"/>
                  <a:t> (off 10)</a:t>
                </a:r>
                <a:endParaRPr lang="en-IN" sz="1800" dirty="0"/>
              </a:p>
            </c:rich>
          </c:tx>
          <c:layout>
            <c:manualLayout>
              <c:xMode val="edge"/>
              <c:yMode val="edge"/>
              <c:x val="0.96897673136480067"/>
              <c:y val="0.19660914377986466"/>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3812591"/>
        <c:crosses val="max"/>
        <c:crossBetween val="between"/>
      </c:valAx>
      <c:catAx>
        <c:axId val="1583812591"/>
        <c:scaling>
          <c:orientation val="minMax"/>
        </c:scaling>
        <c:delete val="1"/>
        <c:axPos val="b"/>
        <c:numFmt formatCode="General" sourceLinked="1"/>
        <c:majorTickMark val="out"/>
        <c:minorTickMark val="none"/>
        <c:tickLblPos val="nextTo"/>
        <c:crossAx val="1583815471"/>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8A2613-ABFE-468A-A021-82F251360FB0}" type="slidenum">
              <a:rPr lang="en-US" smtClean="0"/>
              <a:pPr/>
              <a:t>1</a:t>
            </a:fld>
            <a:endParaRPr lang="en-US"/>
          </a:p>
        </p:txBody>
      </p:sp>
    </p:spTree>
    <p:extLst>
      <p:ext uri="{BB962C8B-B14F-4D97-AF65-F5344CB8AC3E}">
        <p14:creationId xmlns:p14="http://schemas.microsoft.com/office/powerpoint/2010/main" val="22217545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0</a:t>
            </a:fld>
            <a:endParaRPr lang="en-US"/>
          </a:p>
        </p:txBody>
      </p:sp>
    </p:spTree>
    <p:extLst>
      <p:ext uri="{BB962C8B-B14F-4D97-AF65-F5344CB8AC3E}">
        <p14:creationId xmlns:p14="http://schemas.microsoft.com/office/powerpoint/2010/main" val="5060651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1</a:t>
            </a:fld>
            <a:endParaRPr lang="en-US"/>
          </a:p>
        </p:txBody>
      </p:sp>
    </p:spTree>
    <p:extLst>
      <p:ext uri="{BB962C8B-B14F-4D97-AF65-F5344CB8AC3E}">
        <p14:creationId xmlns:p14="http://schemas.microsoft.com/office/powerpoint/2010/main" val="12005848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2</a:t>
            </a:fld>
            <a:endParaRPr lang="en-US"/>
          </a:p>
        </p:txBody>
      </p:sp>
    </p:spTree>
    <p:extLst>
      <p:ext uri="{BB962C8B-B14F-4D97-AF65-F5344CB8AC3E}">
        <p14:creationId xmlns:p14="http://schemas.microsoft.com/office/powerpoint/2010/main" val="912299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3</a:t>
            </a:fld>
            <a:endParaRPr lang="en-US"/>
          </a:p>
        </p:txBody>
      </p:sp>
    </p:spTree>
    <p:extLst>
      <p:ext uri="{BB962C8B-B14F-4D97-AF65-F5344CB8AC3E}">
        <p14:creationId xmlns:p14="http://schemas.microsoft.com/office/powerpoint/2010/main" val="17343921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4</a:t>
            </a:fld>
            <a:endParaRPr lang="en-US"/>
          </a:p>
        </p:txBody>
      </p:sp>
    </p:spTree>
    <p:extLst>
      <p:ext uri="{BB962C8B-B14F-4D97-AF65-F5344CB8AC3E}">
        <p14:creationId xmlns:p14="http://schemas.microsoft.com/office/powerpoint/2010/main" val="31772343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5</a:t>
            </a:fld>
            <a:endParaRPr lang="en-US"/>
          </a:p>
        </p:txBody>
      </p:sp>
    </p:spTree>
    <p:extLst>
      <p:ext uri="{BB962C8B-B14F-4D97-AF65-F5344CB8AC3E}">
        <p14:creationId xmlns:p14="http://schemas.microsoft.com/office/powerpoint/2010/main" val="29614197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6</a:t>
            </a:fld>
            <a:endParaRPr lang="en-US"/>
          </a:p>
        </p:txBody>
      </p:sp>
    </p:spTree>
    <p:extLst>
      <p:ext uri="{BB962C8B-B14F-4D97-AF65-F5344CB8AC3E}">
        <p14:creationId xmlns:p14="http://schemas.microsoft.com/office/powerpoint/2010/main" val="32021010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18</a:t>
            </a:fld>
            <a:endParaRPr lang="en-US"/>
          </a:p>
        </p:txBody>
      </p:sp>
    </p:spTree>
    <p:extLst>
      <p:ext uri="{BB962C8B-B14F-4D97-AF65-F5344CB8AC3E}">
        <p14:creationId xmlns:p14="http://schemas.microsoft.com/office/powerpoint/2010/main" val="760806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2</a:t>
            </a:fld>
            <a:endParaRPr lang="en-US"/>
          </a:p>
        </p:txBody>
      </p:sp>
    </p:spTree>
    <p:extLst>
      <p:ext uri="{BB962C8B-B14F-4D97-AF65-F5344CB8AC3E}">
        <p14:creationId xmlns:p14="http://schemas.microsoft.com/office/powerpoint/2010/main" val="862359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3</a:t>
            </a:fld>
            <a:endParaRPr lang="en-US"/>
          </a:p>
        </p:txBody>
      </p:sp>
    </p:spTree>
    <p:extLst>
      <p:ext uri="{BB962C8B-B14F-4D97-AF65-F5344CB8AC3E}">
        <p14:creationId xmlns:p14="http://schemas.microsoft.com/office/powerpoint/2010/main" val="2077637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4</a:t>
            </a:fld>
            <a:endParaRPr lang="en-US"/>
          </a:p>
        </p:txBody>
      </p:sp>
    </p:spTree>
    <p:extLst>
      <p:ext uri="{BB962C8B-B14F-4D97-AF65-F5344CB8AC3E}">
        <p14:creationId xmlns:p14="http://schemas.microsoft.com/office/powerpoint/2010/main" val="2864638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5</a:t>
            </a:fld>
            <a:endParaRPr lang="en-US"/>
          </a:p>
        </p:txBody>
      </p:sp>
    </p:spTree>
    <p:extLst>
      <p:ext uri="{BB962C8B-B14F-4D97-AF65-F5344CB8AC3E}">
        <p14:creationId xmlns:p14="http://schemas.microsoft.com/office/powerpoint/2010/main" val="3844867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6</a:t>
            </a:fld>
            <a:endParaRPr lang="en-US"/>
          </a:p>
        </p:txBody>
      </p:sp>
    </p:spTree>
    <p:extLst>
      <p:ext uri="{BB962C8B-B14F-4D97-AF65-F5344CB8AC3E}">
        <p14:creationId xmlns:p14="http://schemas.microsoft.com/office/powerpoint/2010/main" val="826025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7</a:t>
            </a:fld>
            <a:endParaRPr lang="en-US"/>
          </a:p>
        </p:txBody>
      </p:sp>
    </p:spTree>
    <p:extLst>
      <p:ext uri="{BB962C8B-B14F-4D97-AF65-F5344CB8AC3E}">
        <p14:creationId xmlns:p14="http://schemas.microsoft.com/office/powerpoint/2010/main" val="524223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8</a:t>
            </a:fld>
            <a:endParaRPr lang="en-US"/>
          </a:p>
        </p:txBody>
      </p:sp>
    </p:spTree>
    <p:extLst>
      <p:ext uri="{BB962C8B-B14F-4D97-AF65-F5344CB8AC3E}">
        <p14:creationId xmlns:p14="http://schemas.microsoft.com/office/powerpoint/2010/main" val="2277322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pPr marL="795337" lvl="1" indent="0">
              <a:spcBef>
                <a:spcPts val="1200"/>
              </a:spcBef>
              <a:buFont typeface="Arial" panose="020B0604020202020204" pitchFamily="34" charset="0"/>
              <a:buNone/>
            </a:pPr>
            <a:endParaRPr lang="en-US" sz="1600" dirty="0">
              <a:solidFill>
                <a:schemeClr val="tx1"/>
              </a:solidFill>
            </a:endParaRP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9</a:t>
            </a:fld>
            <a:endParaRPr lang="en-US"/>
          </a:p>
        </p:txBody>
      </p:sp>
    </p:spTree>
    <p:extLst>
      <p:ext uri="{BB962C8B-B14F-4D97-AF65-F5344CB8AC3E}">
        <p14:creationId xmlns:p14="http://schemas.microsoft.com/office/powerpoint/2010/main" val="20095617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E2F519A5-130D-4941-BEF9-DDD491D70F82}"/>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50653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401581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2666818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53881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_No Sub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a:xfrm>
            <a:off x="289060" y="1426467"/>
            <a:ext cx="11430000" cy="273921"/>
          </a:xfrm>
        </p:spPr>
        <p:txBody>
          <a:bodyPr/>
          <a:lstStyle>
            <a:lvl1pPr marL="0" indent="0">
              <a:buFont typeface="Arial" pitchFamily="34" charset="0"/>
              <a:buNone/>
              <a:defRPr sz="1400"/>
            </a:lvl1pPr>
            <a:lvl2pPr marL="300038" indent="0">
              <a:buNone/>
              <a:defRPr/>
            </a:lvl2pPr>
            <a:lvl3pPr marL="514350" indent="0">
              <a:buNone/>
              <a:defRPr/>
            </a:lvl3pPr>
            <a:lvl4pPr marL="728663" indent="0">
              <a:buNone/>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200150" indent="-260604">
              <a:buFont typeface="Qualcomm Regular" pitchFamily="34" charset="0"/>
              <a:buChar char="−"/>
              <a:defRPr/>
            </a:lvl5pPr>
            <a:lvl6pPr marL="1628775" indent="0">
              <a:buNone/>
              <a:defRPr sz="1200"/>
            </a:lvl6pPr>
          </a:lstStyle>
          <a:p>
            <a:pPr lvl="0"/>
            <a:r>
              <a:rPr lang="en-US"/>
              <a:t>Click to edit Master text styles</a:t>
            </a:r>
          </a:p>
        </p:txBody>
      </p:sp>
      <p:sp>
        <p:nvSpPr>
          <p:cNvPr id="12" name="Title Placeholder 1"/>
          <p:cNvSpPr>
            <a:spLocks noGrp="1"/>
          </p:cNvSpPr>
          <p:nvPr>
            <p:ph type="title"/>
          </p:nvPr>
        </p:nvSpPr>
        <p:spPr>
          <a:xfrm>
            <a:off x="283541" y="698990"/>
            <a:ext cx="11432977" cy="567848"/>
          </a:xfrm>
          <a:prstGeom prst="rect">
            <a:avLst/>
          </a:prstGeom>
        </p:spPr>
        <p:txBody>
          <a:bodyPr vert="horz" wrap="square" lIns="68580" tIns="34290" rIns="68580" bIns="34290" rtlCol="0" anchor="ctr">
            <a:spAutoFit/>
          </a:bodyPr>
          <a:lstStyle>
            <a:lvl1pPr>
              <a:defRPr sz="3600">
                <a:latin typeface="Qualcomm Office Regular" pitchFamily="34" charset="0"/>
              </a:defRPr>
            </a:lvl1pPr>
          </a:lstStyle>
          <a:p>
            <a:r>
              <a:rPr lang="en-US"/>
              <a:t>Click to edit Master title style</a:t>
            </a:r>
          </a:p>
        </p:txBody>
      </p:sp>
      <p:cxnSp>
        <p:nvCxnSpPr>
          <p:cNvPr id="14" name="Straight Connector 13"/>
          <p:cNvCxnSpPr/>
          <p:nvPr userDrawn="1"/>
        </p:nvCxnSpPr>
        <p:spPr>
          <a:xfrm>
            <a:off x="370365"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52" name="Group 51"/>
          <p:cNvGrpSpPr>
            <a:grpSpLocks noChangeAspect="1"/>
          </p:cNvGrpSpPr>
          <p:nvPr userDrawn="1"/>
        </p:nvGrpSpPr>
        <p:grpSpPr>
          <a:xfrm>
            <a:off x="10288860" y="6546300"/>
            <a:ext cx="961544" cy="157272"/>
            <a:chOff x="187326" y="5085556"/>
            <a:chExt cx="8393112" cy="1830388"/>
          </a:xfrm>
          <a:solidFill>
            <a:schemeClr val="bg1">
              <a:lumMod val="75000"/>
            </a:schemeClr>
          </a:solidFill>
        </p:grpSpPr>
        <p:sp>
          <p:nvSpPr>
            <p:cNvPr id="53"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4"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5"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6"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7"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8"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59"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
          <p:nvSpPr>
            <p:cNvPr id="60"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grpSp>
      <p:sp>
        <p:nvSpPr>
          <p:cNvPr id="61" name="TextBox 60"/>
          <p:cNvSpPr txBox="1"/>
          <p:nvPr userDrawn="1"/>
        </p:nvSpPr>
        <p:spPr>
          <a:xfrm>
            <a:off x="289980" y="6477716"/>
            <a:ext cx="2595667" cy="230832"/>
          </a:xfrm>
          <a:prstGeom prst="rect">
            <a:avLst/>
          </a:prstGeom>
          <a:noFill/>
        </p:spPr>
        <p:txBody>
          <a:bodyPr wrap="square" rtlCol="0">
            <a:spAutoFit/>
          </a:bodyPr>
          <a:lstStyle/>
          <a:p>
            <a:pPr marL="0" marR="0" indent="0" algn="l" defTabSz="685800" rtl="0" eaLnBrk="1" fontAlgn="auto" latinLnBrk="0" hangingPunct="1">
              <a:lnSpc>
                <a:spcPct val="90000"/>
              </a:lnSpc>
              <a:spcBef>
                <a:spcPts val="0"/>
              </a:spcBef>
              <a:spcAft>
                <a:spcPts val="300"/>
              </a:spcAft>
              <a:buClrTx/>
              <a:buSzTx/>
              <a:buFontTx/>
              <a:buNone/>
              <a:tabLst/>
              <a:defRPr/>
            </a:pPr>
            <a:fld id="{AB307C75-CA2F-4BA6-858A-60F533452F31}" type="datetimeFigureOut">
              <a:rPr lang="en-US" sz="1000" kern="1200" smtClean="0">
                <a:solidFill>
                  <a:schemeClr val="bg1">
                    <a:lumMod val="75000"/>
                  </a:schemeClr>
                </a:solidFill>
                <a:latin typeface="+mn-lt"/>
                <a:ea typeface="+mn-ea"/>
                <a:cs typeface="+mn-cs"/>
              </a:rPr>
              <a:pPr marL="0" marR="0" indent="0" algn="l" defTabSz="685800" rtl="0" eaLnBrk="1" fontAlgn="auto" latinLnBrk="0" hangingPunct="1">
                <a:lnSpc>
                  <a:spcPct val="90000"/>
                </a:lnSpc>
                <a:spcBef>
                  <a:spcPts val="0"/>
                </a:spcBef>
                <a:spcAft>
                  <a:spcPts val="300"/>
                </a:spcAft>
                <a:buClrTx/>
                <a:buSzTx/>
                <a:buFontTx/>
                <a:buNone/>
                <a:tabLst/>
                <a:defRPr/>
              </a:pPr>
              <a:t>8/21/2023</a:t>
            </a:fld>
            <a:endParaRPr lang="en-US" sz="1000" kern="1200">
              <a:solidFill>
                <a:schemeClr val="bg1">
                  <a:lumMod val="75000"/>
                </a:schemeClr>
              </a:solidFill>
              <a:latin typeface="+mn-lt"/>
              <a:ea typeface="+mn-ea"/>
              <a:cs typeface="+mn-cs"/>
            </a:endParaRPr>
          </a:p>
        </p:txBody>
      </p:sp>
      <p:sp>
        <p:nvSpPr>
          <p:cNvPr id="62" name="TextBox 61"/>
          <p:cNvSpPr txBox="1"/>
          <p:nvPr userDrawn="1"/>
        </p:nvSpPr>
        <p:spPr>
          <a:xfrm>
            <a:off x="4295671" y="6477716"/>
            <a:ext cx="3600660" cy="230832"/>
          </a:xfrm>
          <a:prstGeom prst="rect">
            <a:avLst/>
          </a:prstGeom>
          <a:noFill/>
        </p:spPr>
        <p:txBody>
          <a:bodyPr wrap="square" rtlCol="0">
            <a:spAutoFit/>
          </a:bodyPr>
          <a:lstStyle/>
          <a:p>
            <a:pPr marL="0" marR="0" indent="0" algn="ctr" defTabSz="685800" rtl="0" eaLnBrk="1" fontAlgn="auto" latinLnBrk="0" hangingPunct="1">
              <a:lnSpc>
                <a:spcPct val="90000"/>
              </a:lnSpc>
              <a:spcBef>
                <a:spcPts val="0"/>
              </a:spcBef>
              <a:spcAft>
                <a:spcPts val="300"/>
              </a:spcAft>
              <a:buClrTx/>
              <a:buSzTx/>
              <a:buFontTx/>
              <a:buNone/>
              <a:tabLst/>
              <a:defRPr/>
            </a:pPr>
            <a:r>
              <a:rPr lang="en-US" sz="1000" kern="1200">
                <a:solidFill>
                  <a:schemeClr val="bg1">
                    <a:lumMod val="75000"/>
                  </a:schemeClr>
                </a:solidFill>
                <a:latin typeface="+mn-lt"/>
                <a:ea typeface="+mn-ea"/>
                <a:cs typeface="+mn-cs"/>
              </a:rPr>
              <a:t>Qualcomm Confidential and Proprietary</a:t>
            </a:r>
          </a:p>
        </p:txBody>
      </p:sp>
    </p:spTree>
    <p:extLst>
      <p:ext uri="{BB962C8B-B14F-4D97-AF65-F5344CB8AC3E}">
        <p14:creationId xmlns:p14="http://schemas.microsoft.com/office/powerpoint/2010/main" val="22412671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C3DD6-7FB9-43BA-9026-F9686DEFD3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6FAD930-C827-4F64-B9FB-AD65A2269AF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249445F-07D9-4AD9-91CA-AB9768F020ED}"/>
              </a:ext>
            </a:extLst>
          </p:cNvPr>
          <p:cNvSpPr>
            <a:spLocks noGrp="1"/>
          </p:cNvSpPr>
          <p:nvPr>
            <p:ph type="dt" sz="half" idx="10"/>
          </p:nvPr>
        </p:nvSpPr>
        <p:spPr/>
        <p:txBody>
          <a:bodyPr/>
          <a:lstStyle/>
          <a:p>
            <a:fld id="{99CE9DB3-8191-4B09-859C-90050FB9BCE0}" type="datetimeFigureOut">
              <a:rPr lang="en-US" smtClean="0"/>
              <a:t>8/21/2023</a:t>
            </a:fld>
            <a:endParaRPr lang="en-US"/>
          </a:p>
        </p:txBody>
      </p:sp>
      <p:sp>
        <p:nvSpPr>
          <p:cNvPr id="5" name="Footer Placeholder 4">
            <a:extLst>
              <a:ext uri="{FF2B5EF4-FFF2-40B4-BE49-F238E27FC236}">
                <a16:creationId xmlns:a16="http://schemas.microsoft.com/office/drawing/2014/main" id="{A2C3E737-F50E-4424-9767-845954FA6B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E0BC7A-617C-4D05-A068-B04869AB0250}"/>
              </a:ext>
            </a:extLst>
          </p:cNvPr>
          <p:cNvSpPr>
            <a:spLocks noGrp="1"/>
          </p:cNvSpPr>
          <p:nvPr>
            <p:ph type="sldNum" sz="quarter" idx="12"/>
          </p:nvPr>
        </p:nvSpPr>
        <p:spPr/>
        <p:txBody>
          <a:bodyPr/>
          <a:lstStyle/>
          <a:p>
            <a:fld id="{67C62D69-7ADB-492C-B1BD-7751240683B0}" type="slidenum">
              <a:rPr lang="en-US" smtClean="0"/>
              <a:t>‹#›</a:t>
            </a:fld>
            <a:endParaRPr lang="en-US"/>
          </a:p>
        </p:txBody>
      </p:sp>
    </p:spTree>
    <p:extLst>
      <p:ext uri="{BB962C8B-B14F-4D97-AF65-F5344CB8AC3E}">
        <p14:creationId xmlns:p14="http://schemas.microsoft.com/office/powerpoint/2010/main" val="38785081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FFFFFF"/>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3EAE5D0-9BB5-4EB8-B2B1-42226863B63D}"/>
              </a:ext>
            </a:extLst>
          </p:cNvPr>
          <p:cNvGrpSpPr/>
          <p:nvPr userDrawn="1"/>
        </p:nvGrpSpPr>
        <p:grpSpPr>
          <a:xfrm>
            <a:off x="-1" y="-3"/>
            <a:ext cx="9789436" cy="6167628"/>
            <a:chOff x="-1" y="-3"/>
            <a:chExt cx="9789436" cy="6167628"/>
          </a:xfrm>
        </p:grpSpPr>
        <p:sp>
          <p:nvSpPr>
            <p:cNvPr id="71" name="Rectangle: Single Corner Rounded 55">
              <a:extLst>
                <a:ext uri="{FF2B5EF4-FFF2-40B4-BE49-F238E27FC236}">
                  <a16:creationId xmlns:a16="http://schemas.microsoft.com/office/drawing/2014/main" id="{8EA3C713-B8AC-4809-9208-3E3B708504DD}"/>
                </a:ext>
              </a:extLst>
            </p:cNvPr>
            <p:cNvSpPr/>
            <p:nvPr userDrawn="1"/>
          </p:nvSpPr>
          <p:spPr bwMode="gray">
            <a:xfrm flipV="1">
              <a:off x="-1" y="2"/>
              <a:ext cx="9779986" cy="6167623"/>
            </a:xfrm>
            <a:prstGeom prst="round1Rect">
              <a:avLst>
                <a:gd name="adj" fmla="val 1969"/>
              </a:avLst>
            </a:prstGeom>
            <a:solidFill>
              <a:srgbClr val="7CA0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2" name="Rectangle: Single Corner Rounded 49">
              <a:extLst>
                <a:ext uri="{FF2B5EF4-FFF2-40B4-BE49-F238E27FC236}">
                  <a16:creationId xmlns:a16="http://schemas.microsoft.com/office/drawing/2014/main" id="{4EEC7D30-2878-4223-82F7-D2AC2961696B}"/>
                </a:ext>
              </a:extLst>
            </p:cNvPr>
            <p:cNvSpPr/>
            <p:nvPr userDrawn="1"/>
          </p:nvSpPr>
          <p:spPr bwMode="gray">
            <a:xfrm flipV="1">
              <a:off x="9537470" y="2"/>
              <a:ext cx="251965" cy="6167623"/>
            </a:xfrm>
            <a:prstGeom prst="round1Rect">
              <a:avLst>
                <a:gd name="adj" fmla="val 50000"/>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sp>
          <p:nvSpPr>
            <p:cNvPr id="76" name="Rectangle: Single Corner Rounded 61">
              <a:extLst>
                <a:ext uri="{FF2B5EF4-FFF2-40B4-BE49-F238E27FC236}">
                  <a16:creationId xmlns:a16="http://schemas.microsoft.com/office/drawing/2014/main" id="{1BFF8163-93A0-42A6-BDE3-CBBEB8EDFE2F}"/>
                </a:ext>
              </a:extLst>
            </p:cNvPr>
            <p:cNvSpPr/>
            <p:nvPr/>
          </p:nvSpPr>
          <p:spPr bwMode="gray">
            <a:xfrm flipV="1">
              <a:off x="0" y="-3"/>
              <a:ext cx="8507176" cy="5477243"/>
            </a:xfrm>
            <a:prstGeom prst="round1Rect">
              <a:avLst>
                <a:gd name="adj" fmla="val 2348"/>
              </a:avLst>
            </a:prstGeom>
            <a:solidFill>
              <a:schemeClr val="accent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kern="0">
                <a:solidFill>
                  <a:prstClr val="white"/>
                </a:solidFill>
              </a:endParaRPr>
            </a:p>
          </p:txBody>
        </p:sp>
        <p:sp>
          <p:nvSpPr>
            <p:cNvPr id="77" name="first shadow">
              <a:extLst>
                <a:ext uri="{FF2B5EF4-FFF2-40B4-BE49-F238E27FC236}">
                  <a16:creationId xmlns:a16="http://schemas.microsoft.com/office/drawing/2014/main" id="{C934CF1E-FF30-4CBB-9F82-A5A64F40A1ED}"/>
                </a:ext>
              </a:extLst>
            </p:cNvPr>
            <p:cNvSpPr/>
            <p:nvPr/>
          </p:nvSpPr>
          <p:spPr bwMode="gray">
            <a:xfrm flipV="1">
              <a:off x="7771339" y="0"/>
              <a:ext cx="735836" cy="5477242"/>
            </a:xfrm>
            <a:prstGeom prst="round1Rect">
              <a:avLst>
                <a:gd name="adj" fmla="val 17346"/>
              </a:avLst>
            </a:prstGeom>
            <a:gradFill flip="none" rotWithShape="1">
              <a:gsLst>
                <a:gs pos="58000">
                  <a:srgbClr val="243DA8">
                    <a:alpha val="50000"/>
                  </a:srgbClr>
                </a:gs>
                <a:gs pos="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sp>
        <p:nvSpPr>
          <p:cNvPr id="38" name="Text Placeholder 7"/>
          <p:cNvSpPr>
            <a:spLocks noGrp="1"/>
          </p:cNvSpPr>
          <p:nvPr userDrawn="1">
            <p:ph type="body" sz="quarter" idx="10" hasCustomPrompt="1"/>
          </p:nvPr>
        </p:nvSpPr>
        <p:spPr bwMode="gray">
          <a:xfrm>
            <a:off x="495299" y="4195085"/>
            <a:ext cx="7055035" cy="961930"/>
          </a:xfrm>
          <a:prstGeom prst="rect">
            <a:avLst/>
          </a:prstGeo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6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28" name="Text Placeholder 7">
            <a:extLst>
              <a:ext uri="{FF2B5EF4-FFF2-40B4-BE49-F238E27FC236}">
                <a16:creationId xmlns:a16="http://schemas.microsoft.com/office/drawing/2014/main" id="{B04D80C5-5B09-4391-914E-491EB6BF922B}"/>
              </a:ext>
            </a:extLst>
          </p:cNvPr>
          <p:cNvSpPr>
            <a:spLocks noGrp="1"/>
          </p:cNvSpPr>
          <p:nvPr userDrawn="1">
            <p:ph type="body" sz="quarter" idx="11" hasCustomPrompt="1"/>
          </p:nvPr>
        </p:nvSpPr>
        <p:spPr bwMode="gray">
          <a:xfrm>
            <a:off x="3372251" y="399994"/>
            <a:ext cx="1904056" cy="226772"/>
          </a:xfrm>
          <a:prstGeom prst="rect">
            <a:avLst/>
          </a:prstGeom>
        </p:spPr>
        <p:txBody>
          <a:bodyPr wrap="none"/>
          <a:lstStyle>
            <a:lvl1pPr marL="0" indent="0" algn="l">
              <a:lnSpc>
                <a:spcPct val="87000"/>
              </a:lnSpc>
              <a:spcBef>
                <a:spcPts val="0"/>
              </a:spcBef>
              <a:buNone/>
              <a:defRPr sz="1600" b="0">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Location</a:t>
            </a:r>
          </a:p>
        </p:txBody>
      </p:sp>
      <p:sp>
        <p:nvSpPr>
          <p:cNvPr id="29" name="Text Placeholder 5">
            <a:extLst>
              <a:ext uri="{FF2B5EF4-FFF2-40B4-BE49-F238E27FC236}">
                <a16:creationId xmlns:a16="http://schemas.microsoft.com/office/drawing/2014/main" id="{E4B73436-F9A5-4201-8676-5BB1475322E2}"/>
              </a:ext>
            </a:extLst>
          </p:cNvPr>
          <p:cNvSpPr>
            <a:spLocks noGrp="1"/>
          </p:cNvSpPr>
          <p:nvPr userDrawn="1">
            <p:ph type="body" sz="quarter" idx="13" hasCustomPrompt="1"/>
          </p:nvPr>
        </p:nvSpPr>
        <p:spPr bwMode="gray">
          <a:xfrm>
            <a:off x="495300" y="396125"/>
            <a:ext cx="1882210" cy="262176"/>
          </a:xfrm>
          <a:prstGeom prst="rect">
            <a:avLst/>
          </a:prstGeom>
        </p:spPr>
        <p:txBody>
          <a:bodyPr wrap="none"/>
          <a:lstStyle>
            <a:lvl1pPr marL="0" indent="0">
              <a:lnSpc>
                <a:spcPct val="87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30" name="Text Placeholder 48">
            <a:extLst>
              <a:ext uri="{FF2B5EF4-FFF2-40B4-BE49-F238E27FC236}">
                <a16:creationId xmlns:a16="http://schemas.microsoft.com/office/drawing/2014/main" id="{44CE8076-2642-41CB-B9C4-44BBD2A86AAA}"/>
              </a:ext>
            </a:extLst>
          </p:cNvPr>
          <p:cNvSpPr>
            <a:spLocks noGrp="1"/>
          </p:cNvSpPr>
          <p:nvPr userDrawn="1">
            <p:ph type="body" sz="quarter" idx="14" hasCustomPrompt="1"/>
          </p:nvPr>
        </p:nvSpPr>
        <p:spPr bwMode="gray">
          <a:xfrm>
            <a:off x="6233491" y="380897"/>
            <a:ext cx="1888737" cy="265271"/>
          </a:xfrm>
          <a:prstGeom prst="rect">
            <a:avLst/>
          </a:prstGeom>
        </p:spPr>
        <p:txBody>
          <a:bodyPr wrap="none"/>
          <a:lstStyle>
            <a:lvl1pPr marL="0" marR="0" indent="0" algn="l" defTabSz="914400" rtl="0" eaLnBrk="1" fontAlgn="auto" latinLnBrk="0" hangingPunct="1">
              <a:lnSpc>
                <a:spcPct val="87000"/>
              </a:lnSpc>
              <a:spcBef>
                <a:spcPts val="0"/>
              </a:spcBef>
              <a:spcAft>
                <a:spcPts val="0"/>
              </a:spcAft>
              <a:buClr>
                <a:srgbClr val="3253DC"/>
              </a:buClr>
              <a:buSzTx/>
              <a:buFont typeface="Arial" panose="020B0604020202020204" pitchFamily="34" charset="0"/>
              <a:buNone/>
              <a:tabLst/>
              <a:defRPr sz="1600" b="1">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marL="0" marR="0" lvl="0" indent="0" algn="l" defTabSz="914400" rtl="0" eaLnBrk="1" fontAlgn="auto" latinLnBrk="0" hangingPunct="1">
              <a:lnSpc>
                <a:spcPct val="98000"/>
              </a:lnSpc>
              <a:spcBef>
                <a:spcPts val="0"/>
              </a:spcBef>
              <a:spcAft>
                <a:spcPts val="0"/>
              </a:spcAft>
              <a:buClr>
                <a:srgbClr val="3253DC"/>
              </a:buClr>
              <a:buSzTx/>
              <a:buFont typeface="Arial" panose="020B0604020202020204" pitchFamily="34" charset="0"/>
              <a:buNone/>
              <a:tabLst/>
              <a:defRPr/>
            </a:pPr>
            <a:r>
              <a:rPr lang="en-US"/>
              <a:t>@</a:t>
            </a:r>
            <a:r>
              <a:rPr lang="en-US" err="1"/>
              <a:t>qualcomm</a:t>
            </a:r>
            <a:endParaRPr lang="en-US"/>
          </a:p>
        </p:txBody>
      </p:sp>
      <p:sp>
        <p:nvSpPr>
          <p:cNvPr id="17" name="Freeform 5">
            <a:extLst>
              <a:ext uri="{FF2B5EF4-FFF2-40B4-BE49-F238E27FC236}">
                <a16:creationId xmlns:a16="http://schemas.microsoft.com/office/drawing/2014/main" id="{DE4B2BCE-8AE1-43E3-B178-AF8DE6F44482}"/>
              </a:ext>
            </a:extLst>
          </p:cNvPr>
          <p:cNvSpPr>
            <a:spLocks noChangeAspect="1" noEditPoints="1"/>
          </p:cNvSpPr>
          <p:nvPr userDrawn="1"/>
        </p:nvSpPr>
        <p:spPr bwMode="black">
          <a:xfrm>
            <a:off x="10273307"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3" name="Title 2">
            <a:extLst>
              <a:ext uri="{FF2B5EF4-FFF2-40B4-BE49-F238E27FC236}">
                <a16:creationId xmlns:a16="http://schemas.microsoft.com/office/drawing/2014/main" id="{3EB0BD3E-DA13-45AB-BAE1-25767D7B24A2}"/>
              </a:ext>
            </a:extLst>
          </p:cNvPr>
          <p:cNvSpPr>
            <a:spLocks noGrp="1"/>
          </p:cNvSpPr>
          <p:nvPr>
            <p:ph type="title"/>
          </p:nvPr>
        </p:nvSpPr>
        <p:spPr bwMode="gray">
          <a:xfrm>
            <a:off x="431638" y="2256890"/>
            <a:ext cx="7415930" cy="1820755"/>
          </a:xfrm>
        </p:spPr>
        <p:txBody>
          <a:bodyPr wrap="square">
            <a:spAutoFit/>
          </a:bodyPr>
          <a:lstStyle>
            <a:lvl1pPr>
              <a:lnSpc>
                <a:spcPct val="87000"/>
              </a:lnSpc>
              <a:defRPr sz="6800">
                <a:solidFill>
                  <a:schemeClr val="bg1"/>
                </a:solidFill>
              </a:defRPr>
            </a:lvl1pPr>
          </a:lstStyle>
          <a:p>
            <a:r>
              <a:rPr lang="en-US"/>
              <a:t>Click to edit Master title style</a:t>
            </a:r>
          </a:p>
        </p:txBody>
      </p:sp>
    </p:spTree>
    <p:extLst>
      <p:ext uri="{BB962C8B-B14F-4D97-AF65-F5344CB8AC3E}">
        <p14:creationId xmlns:p14="http://schemas.microsoft.com/office/powerpoint/2010/main" val="204060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BBD75C9-39AE-48FF-827B-E1B635F8E6BE}"/>
              </a:ext>
            </a:extLst>
          </p:cNvPr>
          <p:cNvSpPr>
            <a:spLocks noGrp="1"/>
          </p:cNvSpPr>
          <p:nvPr>
            <p:ph type="ftr" sz="quarter" idx="3"/>
          </p:nvPr>
        </p:nvSpPr>
        <p:spPr>
          <a:xfrm>
            <a:off x="495299" y="6532895"/>
            <a:ext cx="6080760"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
        <p:nvSpPr>
          <p:cNvPr id="4" name="TextBox 3">
            <a:extLst>
              <a:ext uri="{FF2B5EF4-FFF2-40B4-BE49-F238E27FC236}">
                <a16:creationId xmlns:a16="http://schemas.microsoft.com/office/drawing/2014/main" id="{75407725-AA13-487E-8DDC-4AD7572E3433}"/>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124602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a:xfrm>
            <a:off x="495299" y="6532895"/>
            <a:ext cx="6080760" cy="118174"/>
          </a:xfrm>
        </p:spPr>
        <p:txBody>
          <a:bodyPr/>
          <a:lstStyle>
            <a:lvl1pPr marL="0" algn="l" defTabSz="685800" rtl="0" eaLnBrk="1" latinLnBrk="0" hangingPunct="1">
              <a:lnSpc>
                <a:spcPct val="96000"/>
              </a:lnSpc>
              <a:spcBef>
                <a:spcPts val="0"/>
              </a:spcBef>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
        <p:nvSpPr>
          <p:cNvPr id="4" name="Title 3">
            <a:extLst>
              <a:ext uri="{FF2B5EF4-FFF2-40B4-BE49-F238E27FC236}">
                <a16:creationId xmlns:a16="http://schemas.microsoft.com/office/drawing/2014/main" id="{1D6834C9-EEFA-4FBD-BC61-0A36E0C3E96D}"/>
              </a:ext>
            </a:extLst>
          </p:cNvPr>
          <p:cNvSpPr>
            <a:spLocks noGrp="1"/>
          </p:cNvSpPr>
          <p:nvPr>
            <p:ph type="title"/>
          </p:nvPr>
        </p:nvSpPr>
        <p:spPr/>
        <p:txBody>
          <a:bodyPr/>
          <a:lstStyle/>
          <a:p>
            <a:r>
              <a:rPr lang="en-US"/>
              <a:t>Click to edit Master title style</a:t>
            </a:r>
          </a:p>
        </p:txBody>
      </p:sp>
      <p:sp>
        <p:nvSpPr>
          <p:cNvPr id="6" name="Subtitle">
            <a:extLst>
              <a:ext uri="{FF2B5EF4-FFF2-40B4-BE49-F238E27FC236}">
                <a16:creationId xmlns:a16="http://schemas.microsoft.com/office/drawing/2014/main" id="{70A64B2B-7631-4F26-8A92-DDCFC848C52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extBox 4">
            <a:extLst>
              <a:ext uri="{FF2B5EF4-FFF2-40B4-BE49-F238E27FC236}">
                <a16:creationId xmlns:a16="http://schemas.microsoft.com/office/drawing/2014/main" id="{1040A4F9-DF21-4FE0-B331-8B59DFE20601}"/>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59016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F159A567-2827-4283-996F-D7A0CA0EF091}"/>
              </a:ext>
            </a:extLst>
          </p:cNvPr>
          <p:cNvSpPr>
            <a:spLocks noGrp="1"/>
          </p:cNvSpPr>
          <p:nvPr>
            <p:ph type="ftr" sz="quarter" idx="10"/>
          </p:nvPr>
        </p:nvSpPr>
        <p:spPr>
          <a:xfrm>
            <a:off x="495299" y="6534114"/>
            <a:ext cx="6080760" cy="116955"/>
          </a:xfrm>
        </p:spPr>
        <p:txBody>
          <a:bodyPr/>
          <a:lstStyle>
            <a:lvl1pPr>
              <a:defRPr>
                <a:solidFill>
                  <a:schemeClr val="accent5">
                    <a:lumMod val="60000"/>
                    <a:lumOff val="40000"/>
                  </a:schemeClr>
                </a:solidFill>
              </a:defRPr>
            </a:lvl1pPr>
          </a:lstStyle>
          <a:p>
            <a:r>
              <a:rPr lang="en-US"/>
              <a:t>Source sample text</a:t>
            </a:r>
          </a:p>
        </p:txBody>
      </p:sp>
      <p:sp>
        <p:nvSpPr>
          <p:cNvPr id="2" name="Title 1">
            <a:extLst>
              <a:ext uri="{FF2B5EF4-FFF2-40B4-BE49-F238E27FC236}">
                <a16:creationId xmlns:a16="http://schemas.microsoft.com/office/drawing/2014/main" id="{F2F0B1F7-90FE-4E45-AE1D-CC54EF3218EA}"/>
              </a:ext>
            </a:extLst>
          </p:cNvPr>
          <p:cNvSpPr>
            <a:spLocks noGrp="1"/>
          </p:cNvSpPr>
          <p:nvPr>
            <p:ph type="title"/>
          </p:nvPr>
        </p:nvSpPr>
        <p:spPr>
          <a:xfrm>
            <a:off x="495300" y="575576"/>
            <a:ext cx="11187112" cy="429028"/>
          </a:xfrm>
        </p:spPr>
        <p:txBody>
          <a:bodyPr/>
          <a:lstStyle/>
          <a:p>
            <a:r>
              <a:rPr lang="en-US"/>
              <a:t>Click to edit Master title style</a:t>
            </a:r>
          </a:p>
        </p:txBody>
      </p:sp>
      <p:sp>
        <p:nvSpPr>
          <p:cNvPr id="10" name="Content Placeholder 4">
            <a:extLst>
              <a:ext uri="{FF2B5EF4-FFF2-40B4-BE49-F238E27FC236}">
                <a16:creationId xmlns:a16="http://schemas.microsoft.com/office/drawing/2014/main" id="{FAB2FACB-F5E1-4405-9E84-CD76D7A47BD6}"/>
              </a:ext>
            </a:extLst>
          </p:cNvPr>
          <p:cNvSpPr>
            <a:spLocks noGrp="1"/>
          </p:cNvSpPr>
          <p:nvPr>
            <p:ph sz="quarter" idx="14"/>
          </p:nvPr>
        </p:nvSpPr>
        <p:spPr>
          <a:xfrm>
            <a:off x="495300" y="1719072"/>
            <a:ext cx="11187112"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a:extLst>
              <a:ext uri="{FF2B5EF4-FFF2-40B4-BE49-F238E27FC236}">
                <a16:creationId xmlns:a16="http://schemas.microsoft.com/office/drawing/2014/main" id="{987CC11A-8DA4-4916-8DFB-F437A992D5D0}"/>
              </a:ext>
            </a:extLst>
          </p:cNvPr>
          <p:cNvSpPr>
            <a:spLocks noGrp="1"/>
          </p:cNvSpPr>
          <p:nvPr>
            <p:ph type="subTitle" idx="1"/>
          </p:nvPr>
        </p:nvSpPr>
        <p:spPr>
          <a:xfrm>
            <a:off x="494189" y="1088135"/>
            <a:ext cx="11188223" cy="274320"/>
          </a:xfrm>
          <a:prstGeom prst="rect">
            <a:avLst/>
          </a:prstGeom>
        </p:spPr>
        <p:txBody>
          <a:bodyPr>
            <a:spAutoFit/>
          </a:bodyPr>
          <a:lstStyle>
            <a:lvl1pPr marL="0" indent="0" algn="l" defTabSz="914400" rtl="0" eaLnBrk="1" latinLnBrk="0" hangingPunct="1">
              <a:lnSpc>
                <a:spcPct val="96000"/>
              </a:lnSpc>
              <a:spcBef>
                <a:spcPts val="900"/>
              </a:spcBef>
              <a:buClr>
                <a:schemeClr val="accent1"/>
              </a:buClr>
              <a:buFont typeface="Arial" panose="020B0604020202020204" pitchFamily="34" charset="0"/>
              <a:buNone/>
              <a:defRPr lang="en-US" sz="1800" kern="1200" baseline="0" dirty="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extBox 5">
            <a:extLst>
              <a:ext uri="{FF2B5EF4-FFF2-40B4-BE49-F238E27FC236}">
                <a16:creationId xmlns:a16="http://schemas.microsoft.com/office/drawing/2014/main" id="{A8029E85-8BFF-4057-9E97-EF12C0D52455}"/>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346450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4D3FDB3F-CC2C-493E-9337-92AA33E854AD}"/>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7F4401FC-F573-4309-842E-AC6E5E74AE8E}"/>
              </a:ext>
            </a:extLst>
          </p:cNvPr>
          <p:cNvSpPr>
            <a:spLocks noGrp="1"/>
          </p:cNvSpPr>
          <p:nvPr>
            <p:ph type="ftr" sz="quarter" idx="10"/>
          </p:nvPr>
        </p:nvSpPr>
        <p:spPr>
          <a:xfrm>
            <a:off x="495299" y="6532895"/>
            <a:ext cx="608076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3" name="Title 2">
            <a:extLst>
              <a:ext uri="{FF2B5EF4-FFF2-40B4-BE49-F238E27FC236}">
                <a16:creationId xmlns:a16="http://schemas.microsoft.com/office/drawing/2014/main" id="{A7D02C8A-139B-42AA-8D3F-9C22C81198B9}"/>
              </a:ext>
            </a:extLst>
          </p:cNvPr>
          <p:cNvSpPr>
            <a:spLocks noGrp="1"/>
          </p:cNvSpPr>
          <p:nvPr>
            <p:ph type="title"/>
          </p:nvPr>
        </p:nvSpPr>
        <p:spPr/>
        <p:txBody>
          <a:bodyPr/>
          <a:lstStyle/>
          <a:p>
            <a:r>
              <a:rPr lang="en-US"/>
              <a:t>Click to edit Master title style</a:t>
            </a:r>
          </a:p>
        </p:txBody>
      </p:sp>
      <p:sp>
        <p:nvSpPr>
          <p:cNvPr id="12" name="Content Placeholder 4">
            <a:extLst>
              <a:ext uri="{FF2B5EF4-FFF2-40B4-BE49-F238E27FC236}">
                <a16:creationId xmlns:a16="http://schemas.microsoft.com/office/drawing/2014/main" id="{AF19BEBD-2928-4786-BEF4-FBBB3E677273}"/>
              </a:ext>
            </a:extLst>
          </p:cNvPr>
          <p:cNvSpPr>
            <a:spLocks noGrp="1"/>
          </p:cNvSpPr>
          <p:nvPr>
            <p:ph sz="quarter" idx="16"/>
          </p:nvPr>
        </p:nvSpPr>
        <p:spPr>
          <a:xfrm>
            <a:off x="495299" y="1719072"/>
            <a:ext cx="5466587"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D7EE507B-4794-44AC-A49E-5EA7EBB11625}"/>
              </a:ext>
            </a:extLst>
          </p:cNvPr>
          <p:cNvSpPr>
            <a:spLocks noGrp="1"/>
          </p:cNvSpPr>
          <p:nvPr>
            <p:ph sz="quarter" idx="17"/>
          </p:nvPr>
        </p:nvSpPr>
        <p:spPr>
          <a:xfrm>
            <a:off x="6215825" y="1719072"/>
            <a:ext cx="5466587"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title">
            <a:extLst>
              <a:ext uri="{FF2B5EF4-FFF2-40B4-BE49-F238E27FC236}">
                <a16:creationId xmlns:a16="http://schemas.microsoft.com/office/drawing/2014/main" id="{59254D1F-E01C-4A77-9600-A795D1694810}"/>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extBox 6">
            <a:extLst>
              <a:ext uri="{FF2B5EF4-FFF2-40B4-BE49-F238E27FC236}">
                <a16:creationId xmlns:a16="http://schemas.microsoft.com/office/drawing/2014/main" id="{1F558FA5-6540-441B-A268-8E120C993EED}"/>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204317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3DBA47E8-0BB6-435E-8840-540F634338C8}"/>
              </a:ext>
            </a:extLst>
          </p:cNvPr>
          <p:cNvSpPr>
            <a:spLocks noGrp="1"/>
          </p:cNvSpPr>
          <p:nvPr>
            <p:ph type="ftr" sz="quarter" idx="10"/>
          </p:nvPr>
        </p:nvSpPr>
        <p:spPr>
          <a:xfrm>
            <a:off x="495299" y="6532895"/>
            <a:ext cx="608076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3" name="Title 2">
            <a:extLst>
              <a:ext uri="{FF2B5EF4-FFF2-40B4-BE49-F238E27FC236}">
                <a16:creationId xmlns:a16="http://schemas.microsoft.com/office/drawing/2014/main" id="{0FD8C327-DEE2-459B-8C84-74C50D49DB4E}"/>
              </a:ext>
            </a:extLst>
          </p:cNvPr>
          <p:cNvSpPr>
            <a:spLocks noGrp="1"/>
          </p:cNvSpPr>
          <p:nvPr>
            <p:ph type="title"/>
          </p:nvPr>
        </p:nvSpPr>
        <p:spPr/>
        <p:txBody>
          <a:bodyPr/>
          <a:lstStyle/>
          <a:p>
            <a:r>
              <a:rPr lang="en-US"/>
              <a:t>Click to edit Master title style</a:t>
            </a:r>
          </a:p>
        </p:txBody>
      </p:sp>
      <p:sp>
        <p:nvSpPr>
          <p:cNvPr id="14" name="Content Placeholder 4">
            <a:extLst>
              <a:ext uri="{FF2B5EF4-FFF2-40B4-BE49-F238E27FC236}">
                <a16:creationId xmlns:a16="http://schemas.microsoft.com/office/drawing/2014/main" id="{50F9D0A8-20C5-41C2-8A23-1A7CCDCDBA4A}"/>
              </a:ext>
            </a:extLst>
          </p:cNvPr>
          <p:cNvSpPr>
            <a:spLocks noGrp="1"/>
          </p:cNvSpPr>
          <p:nvPr>
            <p:ph sz="quarter" idx="18"/>
          </p:nvPr>
        </p:nvSpPr>
        <p:spPr>
          <a:xfrm>
            <a:off x="495300"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4">
            <a:extLst>
              <a:ext uri="{FF2B5EF4-FFF2-40B4-BE49-F238E27FC236}">
                <a16:creationId xmlns:a16="http://schemas.microsoft.com/office/drawing/2014/main" id="{39BE2B26-0354-43FC-B500-68FC84B40876}"/>
              </a:ext>
            </a:extLst>
          </p:cNvPr>
          <p:cNvSpPr>
            <a:spLocks noGrp="1"/>
          </p:cNvSpPr>
          <p:nvPr>
            <p:ph sz="quarter" idx="19"/>
          </p:nvPr>
        </p:nvSpPr>
        <p:spPr>
          <a:xfrm>
            <a:off x="4312920"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4">
            <a:extLst>
              <a:ext uri="{FF2B5EF4-FFF2-40B4-BE49-F238E27FC236}">
                <a16:creationId xmlns:a16="http://schemas.microsoft.com/office/drawing/2014/main" id="{D85C0699-4F77-4570-8280-EBE59E071A40}"/>
              </a:ext>
            </a:extLst>
          </p:cNvPr>
          <p:cNvSpPr>
            <a:spLocks noGrp="1"/>
          </p:cNvSpPr>
          <p:nvPr>
            <p:ph sz="quarter" idx="20"/>
          </p:nvPr>
        </p:nvSpPr>
        <p:spPr>
          <a:xfrm>
            <a:off x="8116252" y="1719072"/>
            <a:ext cx="3566160" cy="46817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ubtitle">
            <a:extLst>
              <a:ext uri="{FF2B5EF4-FFF2-40B4-BE49-F238E27FC236}">
                <a16:creationId xmlns:a16="http://schemas.microsoft.com/office/drawing/2014/main" id="{0A02D598-0894-4B6B-89A6-48B8073C9D11}"/>
              </a:ext>
            </a:extLst>
          </p:cNvPr>
          <p:cNvSpPr>
            <a:spLocks noGrp="1"/>
          </p:cNvSpPr>
          <p:nvPr>
            <p:ph type="subTitle" idx="1"/>
          </p:nvPr>
        </p:nvSpPr>
        <p:spPr>
          <a:xfrm>
            <a:off x="494189" y="1088136"/>
            <a:ext cx="11188223" cy="265907"/>
          </a:xfrm>
          <a:prstGeom prst="rect">
            <a:avLst/>
          </a:prstGeom>
        </p:spPr>
        <p:txBody>
          <a:bodyPr>
            <a:spAutoFit/>
          </a:bodyPr>
          <a:lstStyle>
            <a:lvl1pPr marL="0" indent="0" algn="l">
              <a:lnSpc>
                <a:spcPct val="96000"/>
              </a:lnSpc>
              <a:spcBef>
                <a:spcPts val="900"/>
              </a:spcBef>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E597CC5F-FAD7-41FD-89C7-4C23E90F12DF}"/>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419922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taway 1/4 Left Nicke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6">
                  <a:lumMod val="40000"/>
                  <a:lumOff val="60000"/>
                  <a:alpha val="0"/>
                </a:schemeClr>
              </a:gs>
              <a:gs pos="100000">
                <a:schemeClr val="accent5">
                  <a:lumMod val="50000"/>
                  <a:alpha val="44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49"/>
            <a:ext cx="2606675" cy="3727439"/>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None/>
              <a:defRPr>
                <a:solidFill>
                  <a:schemeClr val="tx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E2C29AEC-B7E2-4A18-A39E-44AB602E210E}"/>
              </a:ext>
            </a:extLst>
          </p:cNvPr>
          <p:cNvSpPr>
            <a:spLocks noGrp="1"/>
          </p:cNvSpPr>
          <p:nvPr>
            <p:ph type="ftr" sz="quarter" idx="16"/>
          </p:nvPr>
        </p:nvSpPr>
        <p:spPr>
          <a:xfrm>
            <a:off x="495300" y="6532895"/>
            <a:ext cx="2606040" cy="118174"/>
          </a:xfrm>
        </p:spPr>
        <p:txBody>
          <a:bodyPr/>
          <a:lstStyle>
            <a:lvl1pPr defTabSz="685800">
              <a:lnSpc>
                <a:spcPct val="96000"/>
              </a:lnSpc>
              <a:spcBef>
                <a:spcPts val="0"/>
              </a:spcBef>
              <a:buClr>
                <a:srgbClr val="3253DC"/>
              </a:buClr>
              <a:buFont typeface="Arial" panose="020B0604020202020204" pitchFamily="34" charset="0"/>
              <a:buNone/>
              <a:defRPr>
                <a:solidFill>
                  <a:schemeClr val="accent5">
                    <a:lumMod val="60000"/>
                    <a:lumOff val="40000"/>
                  </a:schemeClr>
                </a:solidFill>
              </a:defRPr>
            </a:lvl1pPr>
          </a:lstStyle>
          <a:p>
            <a:r>
              <a:rPr lang="en-US"/>
              <a:t>Source sample text</a:t>
            </a:r>
          </a:p>
        </p:txBody>
      </p:sp>
      <p:sp>
        <p:nvSpPr>
          <p:cNvPr id="12" name="Title 1">
            <a:extLst>
              <a:ext uri="{FF2B5EF4-FFF2-40B4-BE49-F238E27FC236}">
                <a16:creationId xmlns:a16="http://schemas.microsoft.com/office/drawing/2014/main" id="{8AF59A10-4C05-406A-AA75-78CF3E59B8C7}"/>
              </a:ext>
            </a:extLst>
          </p:cNvPr>
          <p:cNvSpPr>
            <a:spLocks noGrp="1"/>
          </p:cNvSpPr>
          <p:nvPr>
            <p:ph type="title"/>
          </p:nvPr>
        </p:nvSpPr>
        <p:spPr>
          <a:xfrm>
            <a:off x="495300" y="413092"/>
            <a:ext cx="2605088" cy="1381340"/>
          </a:xfrm>
        </p:spPr>
        <p:txBody>
          <a:bodyPr wrap="square">
            <a:spAutoFit/>
          </a:bodyPr>
          <a:lstStyle>
            <a:lvl1pPr>
              <a:lnSpc>
                <a:spcPct val="87000"/>
              </a:lnSpc>
              <a:defRPr sz="3400"/>
            </a:lvl1pPr>
          </a:lstStyle>
          <a:p>
            <a:r>
              <a:rPr lang="en-US"/>
              <a:t>Click to edit Master title style</a:t>
            </a:r>
          </a:p>
        </p:txBody>
      </p:sp>
      <p:sp>
        <p:nvSpPr>
          <p:cNvPr id="14" name="Subtitle">
            <a:extLst>
              <a:ext uri="{FF2B5EF4-FFF2-40B4-BE49-F238E27FC236}">
                <a16:creationId xmlns:a16="http://schemas.microsoft.com/office/drawing/2014/main" id="{45EB79BC-E35F-4543-AF44-85AEF3E7E612}"/>
              </a:ext>
            </a:extLst>
          </p:cNvPr>
          <p:cNvSpPr>
            <a:spLocks noGrp="1"/>
          </p:cNvSpPr>
          <p:nvPr>
            <p:ph type="subTitle" idx="1"/>
          </p:nvPr>
        </p:nvSpPr>
        <p:spPr bwMode="gray">
          <a:xfrm>
            <a:off x="495300" y="1869281"/>
            <a:ext cx="2607469" cy="428451"/>
          </a:xfrm>
          <a:prstGeom prst="rect">
            <a:avLst/>
          </a:prstGeom>
        </p:spPr>
        <p:txBody>
          <a:bodyPr>
            <a:spAutoFit/>
          </a:bodyPr>
          <a:lstStyle>
            <a:lvl1pPr marL="0" indent="0" algn="l">
              <a:lnSpc>
                <a:spcPct val="87000"/>
              </a:lnSpc>
              <a:spcBef>
                <a:spcPts val="1800"/>
              </a:spcBef>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Box 10">
            <a:extLst>
              <a:ext uri="{FF2B5EF4-FFF2-40B4-BE49-F238E27FC236}">
                <a16:creationId xmlns:a16="http://schemas.microsoft.com/office/drawing/2014/main" id="{AD407028-F25A-4EB0-8A45-86AD009B4146}"/>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solidFill>
                  <a:schemeClr val="accent5">
                    <a:lumMod val="60000"/>
                    <a:lumOff val="40000"/>
                  </a:schemeClr>
                </a:solidFill>
              </a:rPr>
              <a:t>Confidential and Proprietary — Qualcomm Technologies, Inc. and/or its affiliated companies.</a:t>
            </a:r>
          </a:p>
        </p:txBody>
      </p:sp>
    </p:spTree>
    <p:extLst>
      <p:ext uri="{BB962C8B-B14F-4D97-AF65-F5344CB8AC3E}">
        <p14:creationId xmlns:p14="http://schemas.microsoft.com/office/powerpoint/2010/main" val="211628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95300" y="2348891"/>
            <a:ext cx="3941592"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95300" y="1288543"/>
            <a:ext cx="3940004" cy="736355"/>
          </a:xfrm>
          <a:prstGeom prst="rect">
            <a:avLst/>
          </a:prstGeom>
          <a:noFill/>
        </p:spPr>
        <p:txBody>
          <a:bodyPr wrap="square" lIns="0" tIns="0" rIns="0" bIns="0" rtlCol="0">
            <a:spAutoFit/>
          </a:bodyPr>
          <a:lstStyle/>
          <a:p>
            <a:pPr marL="0" marR="0" lvl="0" indent="0" algn="l" defTabSz="914400" rtl="0" eaLnBrk="1" fontAlgn="auto" latinLnBrk="0" hangingPunct="1">
              <a:lnSpc>
                <a:spcPct val="87000"/>
              </a:lnSpc>
              <a:spcBef>
                <a:spcPts val="0"/>
              </a:spcBef>
              <a:spcAft>
                <a:spcPts val="0"/>
              </a:spcAft>
              <a:buClrTx/>
              <a:buSzTx/>
              <a:buFontTx/>
              <a:buNone/>
              <a:tabLst/>
              <a:defRPr/>
            </a:pPr>
            <a:r>
              <a:rPr kumimoji="0" lang="en-US" sz="5500" b="0" i="0" u="none" strike="noStrike" kern="1200" cap="none" spc="0" normalizeH="0" baseline="0" noProof="0">
                <a:ln>
                  <a:noFill/>
                </a:ln>
                <a:solidFill>
                  <a:schemeClr val="tx1"/>
                </a:solidFill>
                <a:effectLst/>
                <a:uLnTx/>
                <a:uFillTx/>
                <a:latin typeface="Microsoft Sans Serif" panose="020B0604020202020204" pitchFamily="34" charset="0"/>
                <a:ea typeface="+mn-ea"/>
                <a:cs typeface="+mn-cs"/>
              </a:rPr>
              <a:t>Thank you</a:t>
            </a:r>
          </a:p>
        </p:txBody>
      </p:sp>
      <p:grpSp>
        <p:nvGrpSpPr>
          <p:cNvPr id="2" name="Group 1">
            <a:extLst>
              <a:ext uri="{FF2B5EF4-FFF2-40B4-BE49-F238E27FC236}">
                <a16:creationId xmlns:a16="http://schemas.microsoft.com/office/drawing/2014/main" id="{33C3CF42-1576-4671-A7C3-E1DE07182663}"/>
              </a:ext>
            </a:extLst>
          </p:cNvPr>
          <p:cNvGrpSpPr/>
          <p:nvPr userDrawn="1"/>
        </p:nvGrpSpPr>
        <p:grpSpPr>
          <a:xfrm>
            <a:off x="1631429" y="2378044"/>
            <a:ext cx="937502" cy="166848"/>
            <a:chOff x="1631429" y="2378044"/>
            <a:chExt cx="937502" cy="166848"/>
          </a:xfrm>
          <a:solidFill>
            <a:schemeClr val="tx1"/>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1815836" y="2378661"/>
              <a:ext cx="204261" cy="165982"/>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127148" y="2378659"/>
              <a:ext cx="166513" cy="164554"/>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1631429" y="2378044"/>
              <a:ext cx="77357" cy="166848"/>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17" name="Group 4">
              <a:extLst>
                <a:ext uri="{FF2B5EF4-FFF2-40B4-BE49-F238E27FC236}">
                  <a16:creationId xmlns:a16="http://schemas.microsoft.com/office/drawing/2014/main" id="{45BC3658-887C-4005-B502-CD34B4A8B984}"/>
                </a:ext>
              </a:extLst>
            </p:cNvPr>
            <p:cNvGrpSpPr>
              <a:grpSpLocks noChangeAspect="1"/>
            </p:cNvGrpSpPr>
            <p:nvPr userDrawn="1"/>
          </p:nvGrpSpPr>
          <p:grpSpPr bwMode="auto">
            <a:xfrm>
              <a:off x="2404478" y="2378640"/>
              <a:ext cx="164453" cy="164592"/>
              <a:chOff x="2653" y="972"/>
              <a:chExt cx="2372" cy="2374"/>
            </a:xfrm>
            <a:grpFill/>
          </p:grpSpPr>
          <p:sp>
            <p:nvSpPr>
              <p:cNvPr id="18" name="Freeform 5">
                <a:extLst>
                  <a:ext uri="{FF2B5EF4-FFF2-40B4-BE49-F238E27FC236}">
                    <a16:creationId xmlns:a16="http://schemas.microsoft.com/office/drawing/2014/main" id="{FF03A465-2F31-477B-B99B-649410511F1D}"/>
                  </a:ext>
                </a:extLst>
              </p:cNvPr>
              <p:cNvSpPr>
                <a:spLocks noEditPoints="1"/>
              </p:cNvSpPr>
              <p:nvPr userDrawn="1"/>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DFC08468-A953-43DD-B035-D8A3808D90AF}"/>
                  </a:ext>
                </a:extLst>
              </p:cNvPr>
              <p:cNvSpPr>
                <a:spLocks noEditPoints="1"/>
              </p:cNvSpPr>
              <p:nvPr userDrawn="1"/>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7">
                <a:extLst>
                  <a:ext uri="{FF2B5EF4-FFF2-40B4-BE49-F238E27FC236}">
                    <a16:creationId xmlns:a16="http://schemas.microsoft.com/office/drawing/2014/main" id="{64B85DF2-A11A-4979-B3FD-8C3E3624A552}"/>
                  </a:ext>
                </a:extLst>
              </p:cNvPr>
              <p:cNvSpPr>
                <a:spLocks noChangeArrowheads="1"/>
              </p:cNvSpPr>
              <p:nvPr userDrawn="1"/>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Freeform 5">
            <a:extLst>
              <a:ext uri="{FF2B5EF4-FFF2-40B4-BE49-F238E27FC236}">
                <a16:creationId xmlns:a16="http://schemas.microsoft.com/office/drawing/2014/main" id="{45C54419-1B65-407D-B124-61415759D697}"/>
              </a:ext>
            </a:extLst>
          </p:cNvPr>
          <p:cNvSpPr>
            <a:spLocks noChangeAspect="1" noEditPoints="1"/>
          </p:cNvSpPr>
          <p:nvPr userDrawn="1"/>
        </p:nvSpPr>
        <p:spPr bwMode="black">
          <a:xfrm>
            <a:off x="495300" y="348782"/>
            <a:ext cx="1432990" cy="262653"/>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1" name="TextBox 20">
            <a:extLst>
              <a:ext uri="{FF2B5EF4-FFF2-40B4-BE49-F238E27FC236}">
                <a16:creationId xmlns:a16="http://schemas.microsoft.com/office/drawing/2014/main" id="{53AE43F5-5CA9-4FD6-B922-D1FD0597CAC5}"/>
              </a:ext>
            </a:extLst>
          </p:cNvPr>
          <p:cNvSpPr txBox="1"/>
          <p:nvPr userDrawn="1"/>
        </p:nvSpPr>
        <p:spPr bwMode="gray">
          <a:xfrm>
            <a:off x="494974" y="4086843"/>
            <a:ext cx="3364556" cy="166667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2018-2019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22" name="TextBox 21">
            <a:extLst>
              <a:ext uri="{FF2B5EF4-FFF2-40B4-BE49-F238E27FC236}">
                <a16:creationId xmlns:a16="http://schemas.microsoft.com/office/drawing/2014/main" id="{EF38D1F4-DDA6-48B8-A4F5-782E2788E4B0}"/>
              </a:ext>
            </a:extLst>
          </p:cNvPr>
          <p:cNvSpPr txBox="1"/>
          <p:nvPr userDrawn="1"/>
        </p:nvSpPr>
        <p:spPr bwMode="gray">
          <a:xfrm>
            <a:off x="4312123" y="4086843"/>
            <a:ext cx="3676178" cy="1799019"/>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a:t>
            </a:r>
            <a:b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br>
            <a:r>
              <a:rPr kumimoji="0" lang="en-US" sz="1000" b="0" i="0" u="none" strike="noStrike" kern="1200" cap="none" spc="0" normalizeH="0" baseline="0" noProof="0">
                <a:ln>
                  <a:noFill/>
                </a:ln>
                <a:solidFill>
                  <a:schemeClr val="accent2">
                    <a:lumMod val="40000"/>
                    <a:lumOff val="60000"/>
                  </a:schemeClr>
                </a:solidFill>
                <a:effectLst/>
                <a:uLnTx/>
                <a:uFillTx/>
                <a:latin typeface="Microsoft Sans Serif" panose="020B0604020202020204" pitchFamily="34" charset="0"/>
                <a:ea typeface="+mn-ea"/>
                <a:cs typeface="+mn-cs"/>
              </a:rPr>
              <a:t>a wholly-owned subsidiary of Qualcomm Incorporated, operates, along with its subsidiaries, all of Qualcomm’s engineering, research and development functions, and all of its product and services businesses, including its semiconductor business, QCT.</a:t>
            </a:r>
          </a:p>
        </p:txBody>
      </p:sp>
    </p:spTree>
    <p:extLst>
      <p:ext uri="{BB962C8B-B14F-4D97-AF65-F5344CB8AC3E}">
        <p14:creationId xmlns:p14="http://schemas.microsoft.com/office/powerpoint/2010/main" val="176997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78291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CE2826F-1515-463B-A301-BA2C1DB405EC}"/>
              </a:ext>
            </a:extLst>
          </p:cNvPr>
          <p:cNvSpPr txBox="1"/>
          <p:nvPr userDrawn="1"/>
        </p:nvSpPr>
        <p:spPr>
          <a:xfrm>
            <a:off x="7152962"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a:t>Confidential and Proprietary — Qualcomm Technologies, Inc. and/or its affiliated companies.</a:t>
            </a:r>
          </a:p>
        </p:txBody>
      </p:sp>
      <p:sp>
        <p:nvSpPr>
          <p:cNvPr id="6" name="Footer Placeholder 2">
            <a:extLst>
              <a:ext uri="{FF2B5EF4-FFF2-40B4-BE49-F238E27FC236}">
                <a16:creationId xmlns:a16="http://schemas.microsoft.com/office/drawing/2014/main" id="{E28908A1-AAAA-4F52-BA9C-DDDAE77490DE}"/>
              </a:ext>
            </a:extLst>
          </p:cNvPr>
          <p:cNvSpPr>
            <a:spLocks noGrp="1"/>
          </p:cNvSpPr>
          <p:nvPr>
            <p:ph type="ftr" sz="quarter" idx="3"/>
          </p:nvPr>
        </p:nvSpPr>
        <p:spPr>
          <a:xfrm>
            <a:off x="495299" y="6534114"/>
            <a:ext cx="6080760" cy="116955"/>
          </a:xfrm>
          <a:prstGeom prst="rect">
            <a:avLst/>
          </a:prstGeom>
        </p:spPr>
        <p:txBody>
          <a:bodyPr vert="horz" wrap="square" lIns="0" tIns="0" rIns="0" bIns="0" rtlCol="0" anchor="b">
            <a:spAutoFit/>
          </a:bodyPr>
          <a:lstStyle>
            <a:lvl1pPr>
              <a:defRPr lang="en-US" sz="800" baseline="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a:p>
        </p:txBody>
      </p:sp>
      <p:sp>
        <p:nvSpPr>
          <p:cNvPr id="2" name="Title 1">
            <a:extLst>
              <a:ext uri="{FF2B5EF4-FFF2-40B4-BE49-F238E27FC236}">
                <a16:creationId xmlns:a16="http://schemas.microsoft.com/office/drawing/2014/main" id="{C3774473-8666-49CE-A8B1-F26D4F95C8B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A6F4162-CC07-4309-8A99-426722A36DF3}"/>
              </a:ext>
            </a:extLst>
          </p:cNvPr>
          <p:cNvSpPr>
            <a:spLocks noGrp="1"/>
          </p:cNvSpPr>
          <p:nvPr>
            <p:ph sz="quarter" idx="10"/>
          </p:nvPr>
        </p:nvSpPr>
        <p:spPr>
          <a:xfrm>
            <a:off x="376238" y="929268"/>
            <a:ext cx="11428412" cy="5539795"/>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marL="512064" indent="0">
              <a:buNone/>
              <a:defRPr/>
            </a:lvl4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0422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196690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95300" y="575576"/>
            <a:ext cx="11187112" cy="429028"/>
          </a:xfrm>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5299" y="1132232"/>
            <a:ext cx="1118711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5299" y="6529940"/>
            <a:ext cx="10222389" cy="131703"/>
          </a:xfrm>
        </p:spPr>
        <p:txBody>
          <a:bodyPr wrap="square" anchor="b">
            <a:spAutoFit/>
          </a:bodyPr>
          <a:lstStyle>
            <a:lvl1pPr marL="0" indent="0" algn="l">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extLst>
      <p:ext uri="{BB962C8B-B14F-4D97-AF65-F5344CB8AC3E}">
        <p14:creationId xmlns:p14="http://schemas.microsoft.com/office/powerpoint/2010/main" val="225798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08634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94189" y="1132232"/>
            <a:ext cx="11188223"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Footer Placeholder 2">
            <a:extLst>
              <a:ext uri="{FF2B5EF4-FFF2-40B4-BE49-F238E27FC236}">
                <a16:creationId xmlns:a16="http://schemas.microsoft.com/office/drawing/2014/main" id="{0956AE47-124D-4375-A81B-30BAF658BA1F}"/>
              </a:ext>
            </a:extLst>
          </p:cNvPr>
          <p:cNvSpPr>
            <a:spLocks noGrp="1"/>
          </p:cNvSpPr>
          <p:nvPr>
            <p:ph type="ftr" sz="quarter" idx="10"/>
          </p:nvPr>
        </p:nvSpPr>
        <p:spPr/>
        <p:txBody>
          <a:bodyPr/>
          <a:lstStyle/>
          <a:p>
            <a:pPr defTabSz="685800">
              <a:lnSpc>
                <a:spcPct val="95000"/>
              </a:lnSpc>
              <a:spcBef>
                <a:spcPts val="1200"/>
              </a:spcBef>
              <a:buClr>
                <a:srgbClr val="3253DC"/>
              </a:buClr>
              <a:buFont typeface="Arial" panose="020B0604020202020204" pitchFamily="34" charset="0"/>
              <a:buNone/>
            </a:pPr>
            <a:endParaRPr lang="en-US"/>
          </a:p>
        </p:txBody>
      </p:sp>
    </p:spTree>
    <p:extLst>
      <p:ext uri="{BB962C8B-B14F-4D97-AF65-F5344CB8AC3E}">
        <p14:creationId xmlns:p14="http://schemas.microsoft.com/office/powerpoint/2010/main" val="53323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68255D0C-1EDE-493B-8DA6-8F3EFAE77D5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F2873F8E-D55D-4D2D-A442-8CAB320EA0D6}"/>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04F05D8-16DB-47B4-B03A-20CC6481F45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2AEF9882-55A2-4990-AF93-2A804C461C6E}"/>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0D78F864-5081-4829-A827-7CD95C8E7C7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4357B337-8EA8-457A-B703-E670FE99BC8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A98B9663-351A-4691-9442-67EA99C6E7F7}"/>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81D1DAAF-B7C7-4017-BB53-6EBBC3E73A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994BC86A-E0A0-4527-8786-B580DFD9705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FAE9398D-2BD9-4C16-8323-2756D6CD9752}"/>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EB6F0EA-8370-42FA-A0A4-5D838789374E}"/>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54A385DC-4C7B-4594-ABA3-100A9815F765}"/>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8B39B602-3E9F-4A6B-B2D9-E79AEF4E653B}"/>
              </a:ext>
            </a:extLst>
          </p:cNvPr>
          <p:cNvSpPr>
            <a:spLocks noGrp="1"/>
          </p:cNvSpPr>
          <p:nvPr>
            <p:ph type="ftr" sz="quarter" idx="3"/>
          </p:nvPr>
        </p:nvSpPr>
        <p:spPr>
          <a:xfrm>
            <a:off x="8103395"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03B992C9-C291-4BB9-8C07-959F7EFB9F0B}"/>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10" name="Footer Placeholder 4">
            <a:extLst>
              <a:ext uri="{FF2B5EF4-FFF2-40B4-BE49-F238E27FC236}">
                <a16:creationId xmlns:a16="http://schemas.microsoft.com/office/drawing/2014/main" id="{D7823B63-13DA-4A78-952C-6373AA3502D7}"/>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44039381-74AB-4696-9CB0-B73CD547BD9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9" name="Footer Placeholder 4">
            <a:extLst>
              <a:ext uri="{FF2B5EF4-FFF2-40B4-BE49-F238E27FC236}">
                <a16:creationId xmlns:a16="http://schemas.microsoft.com/office/drawing/2014/main" id="{23F0CF35-D904-4B08-9483-EDB0B91BC534}"/>
              </a:ext>
            </a:extLst>
          </p:cNvPr>
          <p:cNvSpPr>
            <a:spLocks noGrp="1"/>
          </p:cNvSpPr>
          <p:nvPr>
            <p:ph type="ftr" sz="quarter" idx="3"/>
          </p:nvPr>
        </p:nvSpPr>
        <p:spPr>
          <a:xfrm>
            <a:off x="477078" y="6484546"/>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7B9D6E5-F171-494D-94DE-4A2A42FD61F8}"/>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ooter Placeholder 4">
            <a:extLst>
              <a:ext uri="{FF2B5EF4-FFF2-40B4-BE49-F238E27FC236}">
                <a16:creationId xmlns:a16="http://schemas.microsoft.com/office/drawing/2014/main" id="{78EB4748-3AA6-4452-86F7-F6049F2A2921}"/>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38F21933-2100-46CB-AAA1-652FE7F65C7D}"/>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4">
            <a:extLst>
              <a:ext uri="{FF2B5EF4-FFF2-40B4-BE49-F238E27FC236}">
                <a16:creationId xmlns:a16="http://schemas.microsoft.com/office/drawing/2014/main" id="{1D9B2014-BAFE-4354-B535-BB6AE1F3C7AA}"/>
              </a:ext>
            </a:extLst>
          </p:cNvPr>
          <p:cNvSpPr>
            <a:spLocks noGrp="1"/>
          </p:cNvSpPr>
          <p:nvPr>
            <p:ph type="ftr" sz="quarter" idx="3"/>
          </p:nvPr>
        </p:nvSpPr>
        <p:spPr>
          <a:xfrm>
            <a:off x="477078" y="6484546"/>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6_Gradient Title Slide">
    <p:bg bwMode="auto">
      <p:bgPr>
        <a:gradFill>
          <a:gsLst>
            <a:gs pos="100000">
              <a:srgbClr val="008E95"/>
            </a:gs>
            <a:gs pos="0">
              <a:srgbClr val="143C66"/>
            </a:gs>
          </a:gsLst>
          <a:lin ang="5400000" scaled="0"/>
        </a:gradFill>
        <a:effectLst/>
      </p:bgPr>
    </p:bg>
    <p:spTree>
      <p:nvGrpSpPr>
        <p:cNvPr id="1" name=""/>
        <p:cNvGrpSpPr/>
        <p:nvPr/>
      </p:nvGrpSpPr>
      <p:grpSpPr>
        <a:xfrm>
          <a:off x="0" y="0"/>
          <a:ext cx="0" cy="0"/>
          <a:chOff x="0" y="0"/>
          <a:chExt cx="0" cy="0"/>
        </a:xfrm>
      </p:grpSpPr>
      <p:grpSp>
        <p:nvGrpSpPr>
          <p:cNvPr id="3" name="Group 2"/>
          <p:cNvGrpSpPr/>
          <p:nvPr userDrawn="1"/>
        </p:nvGrpSpPr>
        <p:grpSpPr>
          <a:xfrm>
            <a:off x="7007827" y="4564076"/>
            <a:ext cx="1102288" cy="1605174"/>
            <a:chOff x="4921606" y="4143170"/>
            <a:chExt cx="1102001" cy="1605174"/>
          </a:xfrm>
        </p:grpSpPr>
        <p:sp>
          <p:nvSpPr>
            <p:cNvPr id="16" name="Freeform 6"/>
            <p:cNvSpPr>
              <a:spLocks noEditPoints="1"/>
            </p:cNvSpPr>
            <p:nvPr userDrawn="1"/>
          </p:nvSpPr>
          <p:spPr bwMode="auto">
            <a:xfrm>
              <a:off x="4977950" y="5297585"/>
              <a:ext cx="85173" cy="94345"/>
            </a:xfrm>
            <a:custGeom>
              <a:avLst/>
              <a:gdLst>
                <a:gd name="T0" fmla="*/ 65 w 65"/>
                <a:gd name="T1" fmla="*/ 72 h 72"/>
                <a:gd name="T2" fmla="*/ 0 w 65"/>
                <a:gd name="T3" fmla="*/ 39 h 72"/>
                <a:gd name="T4" fmla="*/ 61 w 65"/>
                <a:gd name="T5" fmla="*/ 0 h 72"/>
                <a:gd name="T6" fmla="*/ 65 w 65"/>
                <a:gd name="T7" fmla="*/ 72 h 72"/>
                <a:gd name="T8" fmla="*/ 18 w 65"/>
                <a:gd name="T9" fmla="*/ 38 h 72"/>
                <a:gd name="T10" fmla="*/ 55 w 65"/>
                <a:gd name="T11" fmla="*/ 57 h 72"/>
                <a:gd name="T12" fmla="*/ 53 w 65"/>
                <a:gd name="T13" fmla="*/ 15 h 72"/>
                <a:gd name="T14" fmla="*/ 18 w 65"/>
                <a:gd name="T15" fmla="*/ 38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72">
                  <a:moveTo>
                    <a:pt x="65" y="72"/>
                  </a:moveTo>
                  <a:lnTo>
                    <a:pt x="0" y="39"/>
                  </a:lnTo>
                  <a:lnTo>
                    <a:pt x="61" y="0"/>
                  </a:lnTo>
                  <a:lnTo>
                    <a:pt x="65" y="72"/>
                  </a:lnTo>
                  <a:close/>
                  <a:moveTo>
                    <a:pt x="18" y="38"/>
                  </a:moveTo>
                  <a:lnTo>
                    <a:pt x="55" y="57"/>
                  </a:lnTo>
                  <a:lnTo>
                    <a:pt x="53" y="15"/>
                  </a:lnTo>
                  <a:lnTo>
                    <a:pt x="1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7" name="Curved Line"/>
            <p:cNvSpPr>
              <a:spLocks noEditPoints="1"/>
            </p:cNvSpPr>
            <p:nvPr userDrawn="1"/>
          </p:nvSpPr>
          <p:spPr bwMode="auto">
            <a:xfrm>
              <a:off x="4921606" y="4143170"/>
              <a:ext cx="1102001" cy="1605174"/>
            </a:xfrm>
            <a:custGeom>
              <a:avLst/>
              <a:gdLst>
                <a:gd name="T0" fmla="*/ 139 w 489"/>
                <a:gd name="T1" fmla="*/ 711 h 712"/>
                <a:gd name="T2" fmla="*/ 196 w 489"/>
                <a:gd name="T3" fmla="*/ 706 h 712"/>
                <a:gd name="T4" fmla="*/ 111 w 489"/>
                <a:gd name="T5" fmla="*/ 703 h 712"/>
                <a:gd name="T6" fmla="*/ 212 w 489"/>
                <a:gd name="T7" fmla="*/ 692 h 712"/>
                <a:gd name="T8" fmla="*/ 92 w 489"/>
                <a:gd name="T9" fmla="*/ 694 h 712"/>
                <a:gd name="T10" fmla="*/ 222 w 489"/>
                <a:gd name="T11" fmla="*/ 694 h 712"/>
                <a:gd name="T12" fmla="*/ 234 w 489"/>
                <a:gd name="T13" fmla="*/ 676 h 712"/>
                <a:gd name="T14" fmla="*/ 57 w 489"/>
                <a:gd name="T15" fmla="*/ 650 h 712"/>
                <a:gd name="T16" fmla="*/ 261 w 489"/>
                <a:gd name="T17" fmla="*/ 653 h 712"/>
                <a:gd name="T18" fmla="*/ 265 w 489"/>
                <a:gd name="T19" fmla="*/ 646 h 712"/>
                <a:gd name="T20" fmla="*/ 41 w 489"/>
                <a:gd name="T21" fmla="*/ 613 h 712"/>
                <a:gd name="T22" fmla="*/ 272 w 489"/>
                <a:gd name="T23" fmla="*/ 626 h 712"/>
                <a:gd name="T24" fmla="*/ 269 w 489"/>
                <a:gd name="T25" fmla="*/ 604 h 712"/>
                <a:gd name="T26" fmla="*/ 33 w 489"/>
                <a:gd name="T27" fmla="*/ 585 h 712"/>
                <a:gd name="T28" fmla="*/ 274 w 489"/>
                <a:gd name="T29" fmla="*/ 583 h 712"/>
                <a:gd name="T30" fmla="*/ 264 w 489"/>
                <a:gd name="T31" fmla="*/ 564 h 712"/>
                <a:gd name="T32" fmla="*/ 257 w 489"/>
                <a:gd name="T33" fmla="*/ 529 h 712"/>
                <a:gd name="T34" fmla="*/ 248 w 489"/>
                <a:gd name="T35" fmla="*/ 526 h 712"/>
                <a:gd name="T36" fmla="*/ 218 w 489"/>
                <a:gd name="T37" fmla="*/ 479 h 712"/>
                <a:gd name="T38" fmla="*/ 219 w 489"/>
                <a:gd name="T39" fmla="*/ 469 h 712"/>
                <a:gd name="T40" fmla="*/ 188 w 489"/>
                <a:gd name="T41" fmla="*/ 440 h 712"/>
                <a:gd name="T42" fmla="*/ 170 w 489"/>
                <a:gd name="T43" fmla="*/ 410 h 712"/>
                <a:gd name="T44" fmla="*/ 161 w 489"/>
                <a:gd name="T45" fmla="*/ 409 h 712"/>
                <a:gd name="T46" fmla="*/ 123 w 489"/>
                <a:gd name="T47" fmla="*/ 367 h 712"/>
                <a:gd name="T48" fmla="*/ 123 w 489"/>
                <a:gd name="T49" fmla="*/ 358 h 712"/>
                <a:gd name="T50" fmla="*/ 90 w 489"/>
                <a:gd name="T51" fmla="*/ 331 h 712"/>
                <a:gd name="T52" fmla="*/ 72 w 489"/>
                <a:gd name="T53" fmla="*/ 300 h 712"/>
                <a:gd name="T54" fmla="*/ 63 w 489"/>
                <a:gd name="T55" fmla="*/ 299 h 712"/>
                <a:gd name="T56" fmla="*/ 31 w 489"/>
                <a:gd name="T57" fmla="*/ 253 h 712"/>
                <a:gd name="T58" fmla="*/ 32 w 489"/>
                <a:gd name="T59" fmla="*/ 244 h 712"/>
                <a:gd name="T60" fmla="*/ 9 w 489"/>
                <a:gd name="T61" fmla="*/ 208 h 712"/>
                <a:gd name="T62" fmla="*/ 485 w 489"/>
                <a:gd name="T63" fmla="*/ 188 h 712"/>
                <a:gd name="T64" fmla="*/ 4 w 489"/>
                <a:gd name="T65" fmla="*/ 188 h 712"/>
                <a:gd name="T66" fmla="*/ 0 w 489"/>
                <a:gd name="T67" fmla="*/ 152 h 712"/>
                <a:gd name="T68" fmla="*/ 473 w 489"/>
                <a:gd name="T69" fmla="*/ 162 h 712"/>
                <a:gd name="T70" fmla="*/ 6 w 489"/>
                <a:gd name="T71" fmla="*/ 145 h 712"/>
                <a:gd name="T72" fmla="*/ 444 w 489"/>
                <a:gd name="T73" fmla="*/ 131 h 712"/>
                <a:gd name="T74" fmla="*/ 4 w 489"/>
                <a:gd name="T75" fmla="*/ 110 h 712"/>
                <a:gd name="T76" fmla="*/ 431 w 489"/>
                <a:gd name="T77" fmla="*/ 115 h 712"/>
                <a:gd name="T78" fmla="*/ 406 w 489"/>
                <a:gd name="T79" fmla="*/ 90 h 712"/>
                <a:gd name="T80" fmla="*/ 405 w 489"/>
                <a:gd name="T81" fmla="*/ 81 h 712"/>
                <a:gd name="T82" fmla="*/ 384 w 489"/>
                <a:gd name="T83" fmla="*/ 73 h 712"/>
                <a:gd name="T84" fmla="*/ 34 w 489"/>
                <a:gd name="T85" fmla="*/ 53 h 712"/>
                <a:gd name="T86" fmla="*/ 367 w 489"/>
                <a:gd name="T87" fmla="*/ 61 h 712"/>
                <a:gd name="T88" fmla="*/ 337 w 489"/>
                <a:gd name="T89" fmla="*/ 44 h 712"/>
                <a:gd name="T90" fmla="*/ 334 w 489"/>
                <a:gd name="T91" fmla="*/ 35 h 712"/>
                <a:gd name="T92" fmla="*/ 312 w 489"/>
                <a:gd name="T93" fmla="*/ 32 h 712"/>
                <a:gd name="T94" fmla="*/ 86 w 489"/>
                <a:gd name="T95" fmla="*/ 17 h 712"/>
                <a:gd name="T96" fmla="*/ 292 w 489"/>
                <a:gd name="T97" fmla="*/ 25 h 712"/>
                <a:gd name="T98" fmla="*/ 259 w 489"/>
                <a:gd name="T99" fmla="*/ 16 h 712"/>
                <a:gd name="T100" fmla="*/ 254 w 489"/>
                <a:gd name="T101" fmla="*/ 8 h 712"/>
                <a:gd name="T102" fmla="*/ 232 w 489"/>
                <a:gd name="T103" fmla="*/ 10 h 712"/>
                <a:gd name="T104" fmla="*/ 146 w 489"/>
                <a:gd name="T105" fmla="*/ 1 h 712"/>
                <a:gd name="T106" fmla="*/ 198 w 489"/>
                <a:gd name="T107" fmla="*/ 1 h 712"/>
                <a:gd name="T108" fmla="*/ 156 w 489"/>
                <a:gd name="T109" fmla="*/ 7 h 712"/>
                <a:gd name="T110" fmla="*/ 190 w 489"/>
                <a:gd name="T111" fmla="*/ 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9" h="712">
                  <a:moveTo>
                    <a:pt x="160" y="712"/>
                  </a:moveTo>
                  <a:cubicBezTo>
                    <a:pt x="160" y="706"/>
                    <a:pt x="160" y="706"/>
                    <a:pt x="160" y="706"/>
                  </a:cubicBezTo>
                  <a:cubicBezTo>
                    <a:pt x="165" y="706"/>
                    <a:pt x="169" y="705"/>
                    <a:pt x="174" y="705"/>
                  </a:cubicBezTo>
                  <a:cubicBezTo>
                    <a:pt x="175" y="711"/>
                    <a:pt x="175" y="711"/>
                    <a:pt x="175" y="711"/>
                  </a:cubicBezTo>
                  <a:cubicBezTo>
                    <a:pt x="170" y="711"/>
                    <a:pt x="165" y="712"/>
                    <a:pt x="160" y="712"/>
                  </a:cubicBezTo>
                  <a:close/>
                  <a:moveTo>
                    <a:pt x="153" y="712"/>
                  </a:moveTo>
                  <a:cubicBezTo>
                    <a:pt x="148" y="712"/>
                    <a:pt x="144" y="711"/>
                    <a:pt x="139" y="711"/>
                  </a:cubicBezTo>
                  <a:cubicBezTo>
                    <a:pt x="140" y="705"/>
                    <a:pt x="140" y="705"/>
                    <a:pt x="140" y="705"/>
                  </a:cubicBezTo>
                  <a:cubicBezTo>
                    <a:pt x="144" y="705"/>
                    <a:pt x="149" y="706"/>
                    <a:pt x="153" y="706"/>
                  </a:cubicBezTo>
                  <a:lnTo>
                    <a:pt x="153" y="712"/>
                  </a:lnTo>
                  <a:close/>
                  <a:moveTo>
                    <a:pt x="182" y="710"/>
                  </a:moveTo>
                  <a:cubicBezTo>
                    <a:pt x="180" y="703"/>
                    <a:pt x="180" y="703"/>
                    <a:pt x="180" y="703"/>
                  </a:cubicBezTo>
                  <a:cubicBezTo>
                    <a:pt x="185" y="702"/>
                    <a:pt x="189" y="701"/>
                    <a:pt x="194" y="700"/>
                  </a:cubicBezTo>
                  <a:cubicBezTo>
                    <a:pt x="196" y="706"/>
                    <a:pt x="196" y="706"/>
                    <a:pt x="196" y="706"/>
                  </a:cubicBezTo>
                  <a:cubicBezTo>
                    <a:pt x="191" y="707"/>
                    <a:pt x="186" y="709"/>
                    <a:pt x="182" y="710"/>
                  </a:cubicBezTo>
                  <a:close/>
                  <a:moveTo>
                    <a:pt x="132" y="710"/>
                  </a:moveTo>
                  <a:cubicBezTo>
                    <a:pt x="127" y="709"/>
                    <a:pt x="122" y="707"/>
                    <a:pt x="118" y="706"/>
                  </a:cubicBezTo>
                  <a:cubicBezTo>
                    <a:pt x="120" y="700"/>
                    <a:pt x="120" y="700"/>
                    <a:pt x="120" y="700"/>
                  </a:cubicBezTo>
                  <a:cubicBezTo>
                    <a:pt x="124" y="701"/>
                    <a:pt x="129" y="702"/>
                    <a:pt x="133" y="703"/>
                  </a:cubicBezTo>
                  <a:lnTo>
                    <a:pt x="132" y="710"/>
                  </a:lnTo>
                  <a:close/>
                  <a:moveTo>
                    <a:pt x="111" y="703"/>
                  </a:moveTo>
                  <a:cubicBezTo>
                    <a:pt x="107" y="702"/>
                    <a:pt x="102" y="700"/>
                    <a:pt x="98" y="697"/>
                  </a:cubicBezTo>
                  <a:cubicBezTo>
                    <a:pt x="101" y="692"/>
                    <a:pt x="101" y="692"/>
                    <a:pt x="101" y="692"/>
                  </a:cubicBezTo>
                  <a:cubicBezTo>
                    <a:pt x="105" y="694"/>
                    <a:pt x="109" y="696"/>
                    <a:pt x="113" y="698"/>
                  </a:cubicBezTo>
                  <a:lnTo>
                    <a:pt x="111" y="703"/>
                  </a:lnTo>
                  <a:close/>
                  <a:moveTo>
                    <a:pt x="202" y="703"/>
                  </a:moveTo>
                  <a:cubicBezTo>
                    <a:pt x="200" y="698"/>
                    <a:pt x="200" y="698"/>
                    <a:pt x="200" y="698"/>
                  </a:cubicBezTo>
                  <a:cubicBezTo>
                    <a:pt x="204" y="696"/>
                    <a:pt x="208" y="694"/>
                    <a:pt x="212" y="692"/>
                  </a:cubicBezTo>
                  <a:cubicBezTo>
                    <a:pt x="215" y="697"/>
                    <a:pt x="215" y="697"/>
                    <a:pt x="215" y="697"/>
                  </a:cubicBezTo>
                  <a:cubicBezTo>
                    <a:pt x="211" y="700"/>
                    <a:pt x="207" y="702"/>
                    <a:pt x="202" y="703"/>
                  </a:cubicBezTo>
                  <a:close/>
                  <a:moveTo>
                    <a:pt x="92" y="694"/>
                  </a:moveTo>
                  <a:cubicBezTo>
                    <a:pt x="88" y="691"/>
                    <a:pt x="84" y="689"/>
                    <a:pt x="80" y="686"/>
                  </a:cubicBezTo>
                  <a:cubicBezTo>
                    <a:pt x="84" y="681"/>
                    <a:pt x="84" y="681"/>
                    <a:pt x="84" y="681"/>
                  </a:cubicBezTo>
                  <a:cubicBezTo>
                    <a:pt x="88" y="683"/>
                    <a:pt x="91" y="686"/>
                    <a:pt x="95" y="688"/>
                  </a:cubicBezTo>
                  <a:lnTo>
                    <a:pt x="92" y="694"/>
                  </a:lnTo>
                  <a:close/>
                  <a:moveTo>
                    <a:pt x="222" y="694"/>
                  </a:moveTo>
                  <a:cubicBezTo>
                    <a:pt x="218" y="688"/>
                    <a:pt x="218" y="688"/>
                    <a:pt x="218" y="688"/>
                  </a:cubicBezTo>
                  <a:cubicBezTo>
                    <a:pt x="221" y="687"/>
                    <a:pt x="224" y="685"/>
                    <a:pt x="227" y="683"/>
                  </a:cubicBezTo>
                  <a:cubicBezTo>
                    <a:pt x="229" y="680"/>
                    <a:pt x="229" y="680"/>
                    <a:pt x="229" y="680"/>
                  </a:cubicBezTo>
                  <a:cubicBezTo>
                    <a:pt x="233" y="685"/>
                    <a:pt x="233" y="685"/>
                    <a:pt x="233" y="685"/>
                  </a:cubicBezTo>
                  <a:cubicBezTo>
                    <a:pt x="231" y="688"/>
                    <a:pt x="231" y="688"/>
                    <a:pt x="231" y="688"/>
                  </a:cubicBezTo>
                  <a:cubicBezTo>
                    <a:pt x="228" y="690"/>
                    <a:pt x="225" y="692"/>
                    <a:pt x="222" y="694"/>
                  </a:cubicBezTo>
                  <a:close/>
                  <a:moveTo>
                    <a:pt x="75" y="681"/>
                  </a:moveTo>
                  <a:cubicBezTo>
                    <a:pt x="71" y="678"/>
                    <a:pt x="68" y="674"/>
                    <a:pt x="64" y="671"/>
                  </a:cubicBezTo>
                  <a:cubicBezTo>
                    <a:pt x="69" y="667"/>
                    <a:pt x="69" y="667"/>
                    <a:pt x="69" y="667"/>
                  </a:cubicBezTo>
                  <a:cubicBezTo>
                    <a:pt x="72" y="670"/>
                    <a:pt x="75" y="673"/>
                    <a:pt x="79" y="676"/>
                  </a:cubicBezTo>
                  <a:lnTo>
                    <a:pt x="75" y="681"/>
                  </a:lnTo>
                  <a:close/>
                  <a:moveTo>
                    <a:pt x="239" y="681"/>
                  </a:moveTo>
                  <a:cubicBezTo>
                    <a:pt x="234" y="676"/>
                    <a:pt x="234" y="676"/>
                    <a:pt x="234" y="676"/>
                  </a:cubicBezTo>
                  <a:cubicBezTo>
                    <a:pt x="238" y="673"/>
                    <a:pt x="241" y="669"/>
                    <a:pt x="244" y="666"/>
                  </a:cubicBezTo>
                  <a:cubicBezTo>
                    <a:pt x="249" y="670"/>
                    <a:pt x="249" y="670"/>
                    <a:pt x="249" y="670"/>
                  </a:cubicBezTo>
                  <a:cubicBezTo>
                    <a:pt x="246" y="674"/>
                    <a:pt x="242" y="677"/>
                    <a:pt x="239" y="681"/>
                  </a:cubicBezTo>
                  <a:close/>
                  <a:moveTo>
                    <a:pt x="60" y="665"/>
                  </a:moveTo>
                  <a:cubicBezTo>
                    <a:pt x="59" y="664"/>
                    <a:pt x="58" y="663"/>
                    <a:pt x="57" y="662"/>
                  </a:cubicBezTo>
                  <a:cubicBezTo>
                    <a:pt x="55" y="659"/>
                    <a:pt x="53" y="657"/>
                    <a:pt x="51" y="654"/>
                  </a:cubicBezTo>
                  <a:cubicBezTo>
                    <a:pt x="57" y="650"/>
                    <a:pt x="57" y="650"/>
                    <a:pt x="57" y="650"/>
                  </a:cubicBezTo>
                  <a:cubicBezTo>
                    <a:pt x="59" y="653"/>
                    <a:pt x="60" y="656"/>
                    <a:pt x="62" y="658"/>
                  </a:cubicBezTo>
                  <a:cubicBezTo>
                    <a:pt x="63" y="659"/>
                    <a:pt x="64" y="660"/>
                    <a:pt x="65" y="661"/>
                  </a:cubicBezTo>
                  <a:lnTo>
                    <a:pt x="60" y="665"/>
                  </a:lnTo>
                  <a:close/>
                  <a:moveTo>
                    <a:pt x="253" y="665"/>
                  </a:moveTo>
                  <a:cubicBezTo>
                    <a:pt x="248" y="661"/>
                    <a:pt x="248" y="661"/>
                    <a:pt x="248" y="661"/>
                  </a:cubicBezTo>
                  <a:cubicBezTo>
                    <a:pt x="251" y="657"/>
                    <a:pt x="253" y="653"/>
                    <a:pt x="256" y="649"/>
                  </a:cubicBezTo>
                  <a:cubicBezTo>
                    <a:pt x="261" y="653"/>
                    <a:pt x="261" y="653"/>
                    <a:pt x="261" y="653"/>
                  </a:cubicBezTo>
                  <a:cubicBezTo>
                    <a:pt x="259" y="657"/>
                    <a:pt x="256" y="661"/>
                    <a:pt x="253" y="665"/>
                  </a:cubicBezTo>
                  <a:close/>
                  <a:moveTo>
                    <a:pt x="48" y="648"/>
                  </a:moveTo>
                  <a:cubicBezTo>
                    <a:pt x="45" y="643"/>
                    <a:pt x="43" y="639"/>
                    <a:pt x="42" y="635"/>
                  </a:cubicBezTo>
                  <a:cubicBezTo>
                    <a:pt x="47" y="632"/>
                    <a:pt x="47" y="632"/>
                    <a:pt x="47" y="632"/>
                  </a:cubicBezTo>
                  <a:cubicBezTo>
                    <a:pt x="49" y="636"/>
                    <a:pt x="51" y="640"/>
                    <a:pt x="53" y="644"/>
                  </a:cubicBezTo>
                  <a:lnTo>
                    <a:pt x="48" y="648"/>
                  </a:lnTo>
                  <a:close/>
                  <a:moveTo>
                    <a:pt x="265" y="646"/>
                  </a:moveTo>
                  <a:cubicBezTo>
                    <a:pt x="259" y="644"/>
                    <a:pt x="259" y="644"/>
                    <a:pt x="259" y="644"/>
                  </a:cubicBezTo>
                  <a:cubicBezTo>
                    <a:pt x="261" y="639"/>
                    <a:pt x="263" y="635"/>
                    <a:pt x="264" y="631"/>
                  </a:cubicBezTo>
                  <a:cubicBezTo>
                    <a:pt x="270" y="633"/>
                    <a:pt x="270" y="633"/>
                    <a:pt x="270" y="633"/>
                  </a:cubicBezTo>
                  <a:cubicBezTo>
                    <a:pt x="269" y="637"/>
                    <a:pt x="267" y="642"/>
                    <a:pt x="265" y="646"/>
                  </a:cubicBezTo>
                  <a:close/>
                  <a:moveTo>
                    <a:pt x="39" y="628"/>
                  </a:moveTo>
                  <a:cubicBezTo>
                    <a:pt x="37" y="623"/>
                    <a:pt x="36" y="619"/>
                    <a:pt x="35" y="614"/>
                  </a:cubicBezTo>
                  <a:cubicBezTo>
                    <a:pt x="41" y="613"/>
                    <a:pt x="41" y="613"/>
                    <a:pt x="41" y="613"/>
                  </a:cubicBezTo>
                  <a:cubicBezTo>
                    <a:pt x="42" y="617"/>
                    <a:pt x="44" y="622"/>
                    <a:pt x="45" y="626"/>
                  </a:cubicBezTo>
                  <a:lnTo>
                    <a:pt x="39" y="628"/>
                  </a:lnTo>
                  <a:close/>
                  <a:moveTo>
                    <a:pt x="272" y="626"/>
                  </a:moveTo>
                  <a:cubicBezTo>
                    <a:pt x="266" y="624"/>
                    <a:pt x="266" y="624"/>
                    <a:pt x="266" y="624"/>
                  </a:cubicBezTo>
                  <a:cubicBezTo>
                    <a:pt x="267" y="620"/>
                    <a:pt x="268" y="616"/>
                    <a:pt x="268" y="611"/>
                  </a:cubicBezTo>
                  <a:cubicBezTo>
                    <a:pt x="275" y="612"/>
                    <a:pt x="275" y="612"/>
                    <a:pt x="275" y="612"/>
                  </a:cubicBezTo>
                  <a:cubicBezTo>
                    <a:pt x="274" y="617"/>
                    <a:pt x="273" y="621"/>
                    <a:pt x="272" y="626"/>
                  </a:cubicBezTo>
                  <a:close/>
                  <a:moveTo>
                    <a:pt x="34" y="607"/>
                  </a:moveTo>
                  <a:cubicBezTo>
                    <a:pt x="33" y="602"/>
                    <a:pt x="33" y="597"/>
                    <a:pt x="33" y="593"/>
                  </a:cubicBezTo>
                  <a:cubicBezTo>
                    <a:pt x="39" y="592"/>
                    <a:pt x="39" y="592"/>
                    <a:pt x="39" y="592"/>
                  </a:cubicBezTo>
                  <a:cubicBezTo>
                    <a:pt x="39" y="597"/>
                    <a:pt x="39" y="602"/>
                    <a:pt x="40" y="606"/>
                  </a:cubicBezTo>
                  <a:lnTo>
                    <a:pt x="34" y="607"/>
                  </a:lnTo>
                  <a:close/>
                  <a:moveTo>
                    <a:pt x="275" y="605"/>
                  </a:moveTo>
                  <a:cubicBezTo>
                    <a:pt x="269" y="604"/>
                    <a:pt x="269" y="604"/>
                    <a:pt x="269" y="604"/>
                  </a:cubicBezTo>
                  <a:cubicBezTo>
                    <a:pt x="269" y="603"/>
                    <a:pt x="269" y="601"/>
                    <a:pt x="269" y="599"/>
                  </a:cubicBezTo>
                  <a:cubicBezTo>
                    <a:pt x="269" y="597"/>
                    <a:pt x="269" y="594"/>
                    <a:pt x="269" y="591"/>
                  </a:cubicBezTo>
                  <a:cubicBezTo>
                    <a:pt x="275" y="590"/>
                    <a:pt x="275" y="590"/>
                    <a:pt x="275" y="590"/>
                  </a:cubicBezTo>
                  <a:cubicBezTo>
                    <a:pt x="275" y="593"/>
                    <a:pt x="275" y="596"/>
                    <a:pt x="275" y="599"/>
                  </a:cubicBezTo>
                  <a:cubicBezTo>
                    <a:pt x="275" y="601"/>
                    <a:pt x="275" y="603"/>
                    <a:pt x="275" y="605"/>
                  </a:cubicBezTo>
                  <a:close/>
                  <a:moveTo>
                    <a:pt x="39" y="586"/>
                  </a:moveTo>
                  <a:cubicBezTo>
                    <a:pt x="33" y="585"/>
                    <a:pt x="33" y="585"/>
                    <a:pt x="33" y="585"/>
                  </a:cubicBezTo>
                  <a:cubicBezTo>
                    <a:pt x="33" y="581"/>
                    <a:pt x="33" y="576"/>
                    <a:pt x="34" y="571"/>
                  </a:cubicBezTo>
                  <a:cubicBezTo>
                    <a:pt x="40" y="572"/>
                    <a:pt x="40" y="572"/>
                    <a:pt x="40" y="572"/>
                  </a:cubicBezTo>
                  <a:cubicBezTo>
                    <a:pt x="40" y="577"/>
                    <a:pt x="39" y="581"/>
                    <a:pt x="39" y="586"/>
                  </a:cubicBezTo>
                  <a:close/>
                  <a:moveTo>
                    <a:pt x="268" y="584"/>
                  </a:moveTo>
                  <a:cubicBezTo>
                    <a:pt x="267" y="580"/>
                    <a:pt x="266" y="575"/>
                    <a:pt x="265" y="570"/>
                  </a:cubicBezTo>
                  <a:cubicBezTo>
                    <a:pt x="272" y="569"/>
                    <a:pt x="272" y="569"/>
                    <a:pt x="272" y="569"/>
                  </a:cubicBezTo>
                  <a:cubicBezTo>
                    <a:pt x="273" y="574"/>
                    <a:pt x="274" y="579"/>
                    <a:pt x="274" y="583"/>
                  </a:cubicBezTo>
                  <a:lnTo>
                    <a:pt x="268" y="584"/>
                  </a:lnTo>
                  <a:close/>
                  <a:moveTo>
                    <a:pt x="41" y="565"/>
                  </a:moveTo>
                  <a:cubicBezTo>
                    <a:pt x="35" y="564"/>
                    <a:pt x="35" y="564"/>
                    <a:pt x="35" y="564"/>
                  </a:cubicBezTo>
                  <a:cubicBezTo>
                    <a:pt x="36" y="559"/>
                    <a:pt x="38" y="555"/>
                    <a:pt x="39" y="550"/>
                  </a:cubicBezTo>
                  <a:cubicBezTo>
                    <a:pt x="45" y="552"/>
                    <a:pt x="45" y="552"/>
                    <a:pt x="45" y="552"/>
                  </a:cubicBezTo>
                  <a:cubicBezTo>
                    <a:pt x="44" y="557"/>
                    <a:pt x="42" y="561"/>
                    <a:pt x="41" y="565"/>
                  </a:cubicBezTo>
                  <a:close/>
                  <a:moveTo>
                    <a:pt x="264" y="564"/>
                  </a:moveTo>
                  <a:cubicBezTo>
                    <a:pt x="263" y="560"/>
                    <a:pt x="261" y="555"/>
                    <a:pt x="260" y="551"/>
                  </a:cubicBezTo>
                  <a:cubicBezTo>
                    <a:pt x="265" y="549"/>
                    <a:pt x="265" y="549"/>
                    <a:pt x="265" y="549"/>
                  </a:cubicBezTo>
                  <a:cubicBezTo>
                    <a:pt x="267" y="553"/>
                    <a:pt x="269" y="558"/>
                    <a:pt x="270" y="562"/>
                  </a:cubicBezTo>
                  <a:lnTo>
                    <a:pt x="264" y="564"/>
                  </a:lnTo>
                  <a:close/>
                  <a:moveTo>
                    <a:pt x="257" y="544"/>
                  </a:moveTo>
                  <a:cubicBezTo>
                    <a:pt x="255" y="540"/>
                    <a:pt x="254" y="536"/>
                    <a:pt x="251" y="532"/>
                  </a:cubicBezTo>
                  <a:cubicBezTo>
                    <a:pt x="257" y="529"/>
                    <a:pt x="257" y="529"/>
                    <a:pt x="257" y="529"/>
                  </a:cubicBezTo>
                  <a:cubicBezTo>
                    <a:pt x="259" y="533"/>
                    <a:pt x="261" y="538"/>
                    <a:pt x="263" y="542"/>
                  </a:cubicBezTo>
                  <a:lnTo>
                    <a:pt x="257" y="544"/>
                  </a:lnTo>
                  <a:close/>
                  <a:moveTo>
                    <a:pt x="248" y="526"/>
                  </a:moveTo>
                  <a:cubicBezTo>
                    <a:pt x="246" y="522"/>
                    <a:pt x="244" y="517"/>
                    <a:pt x="242" y="513"/>
                  </a:cubicBezTo>
                  <a:cubicBezTo>
                    <a:pt x="247" y="510"/>
                    <a:pt x="247" y="510"/>
                    <a:pt x="247" y="510"/>
                  </a:cubicBezTo>
                  <a:cubicBezTo>
                    <a:pt x="250" y="514"/>
                    <a:pt x="252" y="518"/>
                    <a:pt x="254" y="523"/>
                  </a:cubicBezTo>
                  <a:lnTo>
                    <a:pt x="248" y="526"/>
                  </a:lnTo>
                  <a:close/>
                  <a:moveTo>
                    <a:pt x="238" y="507"/>
                  </a:moveTo>
                  <a:cubicBezTo>
                    <a:pt x="236" y="504"/>
                    <a:pt x="233" y="500"/>
                    <a:pt x="231" y="496"/>
                  </a:cubicBezTo>
                  <a:cubicBezTo>
                    <a:pt x="236" y="492"/>
                    <a:pt x="236" y="492"/>
                    <a:pt x="236" y="492"/>
                  </a:cubicBezTo>
                  <a:cubicBezTo>
                    <a:pt x="239" y="496"/>
                    <a:pt x="241" y="500"/>
                    <a:pt x="244" y="504"/>
                  </a:cubicBezTo>
                  <a:lnTo>
                    <a:pt x="238" y="507"/>
                  </a:lnTo>
                  <a:close/>
                  <a:moveTo>
                    <a:pt x="227" y="490"/>
                  </a:moveTo>
                  <a:cubicBezTo>
                    <a:pt x="224" y="486"/>
                    <a:pt x="221" y="483"/>
                    <a:pt x="218" y="479"/>
                  </a:cubicBezTo>
                  <a:cubicBezTo>
                    <a:pt x="224" y="475"/>
                    <a:pt x="224" y="475"/>
                    <a:pt x="224" y="475"/>
                  </a:cubicBezTo>
                  <a:cubicBezTo>
                    <a:pt x="226" y="479"/>
                    <a:pt x="229" y="483"/>
                    <a:pt x="232" y="486"/>
                  </a:cubicBezTo>
                  <a:lnTo>
                    <a:pt x="227" y="490"/>
                  </a:lnTo>
                  <a:close/>
                  <a:moveTo>
                    <a:pt x="214" y="473"/>
                  </a:moveTo>
                  <a:cubicBezTo>
                    <a:pt x="211" y="470"/>
                    <a:pt x="209" y="466"/>
                    <a:pt x="206" y="462"/>
                  </a:cubicBezTo>
                  <a:cubicBezTo>
                    <a:pt x="211" y="458"/>
                    <a:pt x="211" y="458"/>
                    <a:pt x="211" y="458"/>
                  </a:cubicBezTo>
                  <a:cubicBezTo>
                    <a:pt x="214" y="462"/>
                    <a:pt x="217" y="466"/>
                    <a:pt x="219" y="469"/>
                  </a:cubicBezTo>
                  <a:lnTo>
                    <a:pt x="214" y="473"/>
                  </a:lnTo>
                  <a:close/>
                  <a:moveTo>
                    <a:pt x="201" y="457"/>
                  </a:moveTo>
                  <a:cubicBezTo>
                    <a:pt x="199" y="453"/>
                    <a:pt x="196" y="449"/>
                    <a:pt x="193" y="446"/>
                  </a:cubicBezTo>
                  <a:cubicBezTo>
                    <a:pt x="198" y="442"/>
                    <a:pt x="198" y="442"/>
                    <a:pt x="198" y="442"/>
                  </a:cubicBezTo>
                  <a:cubicBezTo>
                    <a:pt x="201" y="445"/>
                    <a:pt x="204" y="449"/>
                    <a:pt x="206" y="453"/>
                  </a:cubicBezTo>
                  <a:lnTo>
                    <a:pt x="201" y="457"/>
                  </a:lnTo>
                  <a:close/>
                  <a:moveTo>
                    <a:pt x="188" y="440"/>
                  </a:moveTo>
                  <a:cubicBezTo>
                    <a:pt x="185" y="437"/>
                    <a:pt x="182" y="433"/>
                    <a:pt x="179" y="430"/>
                  </a:cubicBezTo>
                  <a:cubicBezTo>
                    <a:pt x="184" y="426"/>
                    <a:pt x="184" y="426"/>
                    <a:pt x="184" y="426"/>
                  </a:cubicBezTo>
                  <a:cubicBezTo>
                    <a:pt x="187" y="429"/>
                    <a:pt x="190" y="433"/>
                    <a:pt x="193" y="436"/>
                  </a:cubicBezTo>
                  <a:lnTo>
                    <a:pt x="188" y="440"/>
                  </a:lnTo>
                  <a:close/>
                  <a:moveTo>
                    <a:pt x="175" y="425"/>
                  </a:moveTo>
                  <a:cubicBezTo>
                    <a:pt x="172" y="421"/>
                    <a:pt x="169" y="417"/>
                    <a:pt x="166" y="414"/>
                  </a:cubicBezTo>
                  <a:cubicBezTo>
                    <a:pt x="170" y="410"/>
                    <a:pt x="170" y="410"/>
                    <a:pt x="170" y="410"/>
                  </a:cubicBezTo>
                  <a:cubicBezTo>
                    <a:pt x="173" y="413"/>
                    <a:pt x="176" y="417"/>
                    <a:pt x="180" y="420"/>
                  </a:cubicBezTo>
                  <a:lnTo>
                    <a:pt x="175" y="425"/>
                  </a:lnTo>
                  <a:close/>
                  <a:moveTo>
                    <a:pt x="161" y="409"/>
                  </a:moveTo>
                  <a:cubicBezTo>
                    <a:pt x="158" y="405"/>
                    <a:pt x="155" y="402"/>
                    <a:pt x="152" y="398"/>
                  </a:cubicBezTo>
                  <a:cubicBezTo>
                    <a:pt x="156" y="394"/>
                    <a:pt x="156" y="394"/>
                    <a:pt x="156" y="394"/>
                  </a:cubicBezTo>
                  <a:cubicBezTo>
                    <a:pt x="159" y="398"/>
                    <a:pt x="163" y="401"/>
                    <a:pt x="166" y="405"/>
                  </a:cubicBezTo>
                  <a:lnTo>
                    <a:pt x="161" y="409"/>
                  </a:lnTo>
                  <a:close/>
                  <a:moveTo>
                    <a:pt x="147" y="393"/>
                  </a:moveTo>
                  <a:cubicBezTo>
                    <a:pt x="144" y="390"/>
                    <a:pt x="141" y="386"/>
                    <a:pt x="138" y="383"/>
                  </a:cubicBezTo>
                  <a:cubicBezTo>
                    <a:pt x="142" y="379"/>
                    <a:pt x="142" y="379"/>
                    <a:pt x="142" y="379"/>
                  </a:cubicBezTo>
                  <a:cubicBezTo>
                    <a:pt x="145" y="382"/>
                    <a:pt x="148" y="385"/>
                    <a:pt x="152" y="389"/>
                  </a:cubicBezTo>
                  <a:lnTo>
                    <a:pt x="147" y="393"/>
                  </a:lnTo>
                  <a:close/>
                  <a:moveTo>
                    <a:pt x="133" y="378"/>
                  </a:moveTo>
                  <a:cubicBezTo>
                    <a:pt x="123" y="367"/>
                    <a:pt x="123" y="367"/>
                    <a:pt x="123" y="367"/>
                  </a:cubicBezTo>
                  <a:cubicBezTo>
                    <a:pt x="128" y="363"/>
                    <a:pt x="128" y="363"/>
                    <a:pt x="128" y="363"/>
                  </a:cubicBezTo>
                  <a:cubicBezTo>
                    <a:pt x="137" y="373"/>
                    <a:pt x="137" y="373"/>
                    <a:pt x="137" y="373"/>
                  </a:cubicBezTo>
                  <a:lnTo>
                    <a:pt x="133" y="378"/>
                  </a:lnTo>
                  <a:close/>
                  <a:moveTo>
                    <a:pt x="119" y="362"/>
                  </a:moveTo>
                  <a:cubicBezTo>
                    <a:pt x="109" y="352"/>
                    <a:pt x="109" y="352"/>
                    <a:pt x="109" y="352"/>
                  </a:cubicBezTo>
                  <a:cubicBezTo>
                    <a:pt x="114" y="348"/>
                    <a:pt x="114" y="348"/>
                    <a:pt x="114" y="348"/>
                  </a:cubicBezTo>
                  <a:cubicBezTo>
                    <a:pt x="123" y="358"/>
                    <a:pt x="123" y="358"/>
                    <a:pt x="123" y="358"/>
                  </a:cubicBezTo>
                  <a:lnTo>
                    <a:pt x="119" y="362"/>
                  </a:lnTo>
                  <a:close/>
                  <a:moveTo>
                    <a:pt x="104" y="347"/>
                  </a:moveTo>
                  <a:cubicBezTo>
                    <a:pt x="101" y="343"/>
                    <a:pt x="98" y="340"/>
                    <a:pt x="95" y="336"/>
                  </a:cubicBezTo>
                  <a:cubicBezTo>
                    <a:pt x="100" y="332"/>
                    <a:pt x="100" y="332"/>
                    <a:pt x="100" y="332"/>
                  </a:cubicBezTo>
                  <a:cubicBezTo>
                    <a:pt x="103" y="335"/>
                    <a:pt x="106" y="339"/>
                    <a:pt x="109" y="342"/>
                  </a:cubicBezTo>
                  <a:lnTo>
                    <a:pt x="104" y="347"/>
                  </a:lnTo>
                  <a:close/>
                  <a:moveTo>
                    <a:pt x="90" y="331"/>
                  </a:moveTo>
                  <a:cubicBezTo>
                    <a:pt x="87" y="328"/>
                    <a:pt x="84" y="324"/>
                    <a:pt x="81" y="320"/>
                  </a:cubicBezTo>
                  <a:cubicBezTo>
                    <a:pt x="86" y="316"/>
                    <a:pt x="86" y="316"/>
                    <a:pt x="86" y="316"/>
                  </a:cubicBezTo>
                  <a:cubicBezTo>
                    <a:pt x="89" y="320"/>
                    <a:pt x="92" y="323"/>
                    <a:pt x="95" y="327"/>
                  </a:cubicBezTo>
                  <a:lnTo>
                    <a:pt x="90" y="331"/>
                  </a:lnTo>
                  <a:close/>
                  <a:moveTo>
                    <a:pt x="76" y="315"/>
                  </a:moveTo>
                  <a:cubicBezTo>
                    <a:pt x="73" y="312"/>
                    <a:pt x="70" y="308"/>
                    <a:pt x="67" y="304"/>
                  </a:cubicBezTo>
                  <a:cubicBezTo>
                    <a:pt x="72" y="300"/>
                    <a:pt x="72" y="300"/>
                    <a:pt x="72" y="300"/>
                  </a:cubicBezTo>
                  <a:cubicBezTo>
                    <a:pt x="75" y="304"/>
                    <a:pt x="78" y="307"/>
                    <a:pt x="81" y="311"/>
                  </a:cubicBezTo>
                  <a:lnTo>
                    <a:pt x="76" y="315"/>
                  </a:lnTo>
                  <a:close/>
                  <a:moveTo>
                    <a:pt x="63" y="299"/>
                  </a:moveTo>
                  <a:cubicBezTo>
                    <a:pt x="60" y="295"/>
                    <a:pt x="57" y="292"/>
                    <a:pt x="54" y="288"/>
                  </a:cubicBezTo>
                  <a:cubicBezTo>
                    <a:pt x="59" y="284"/>
                    <a:pt x="59" y="284"/>
                    <a:pt x="59" y="284"/>
                  </a:cubicBezTo>
                  <a:cubicBezTo>
                    <a:pt x="62" y="288"/>
                    <a:pt x="65" y="291"/>
                    <a:pt x="68" y="295"/>
                  </a:cubicBezTo>
                  <a:lnTo>
                    <a:pt x="63" y="299"/>
                  </a:lnTo>
                  <a:close/>
                  <a:moveTo>
                    <a:pt x="50" y="282"/>
                  </a:moveTo>
                  <a:cubicBezTo>
                    <a:pt x="47" y="278"/>
                    <a:pt x="45" y="275"/>
                    <a:pt x="42" y="271"/>
                  </a:cubicBezTo>
                  <a:cubicBezTo>
                    <a:pt x="47" y="267"/>
                    <a:pt x="47" y="267"/>
                    <a:pt x="47" y="267"/>
                  </a:cubicBezTo>
                  <a:cubicBezTo>
                    <a:pt x="50" y="271"/>
                    <a:pt x="52" y="275"/>
                    <a:pt x="55" y="278"/>
                  </a:cubicBezTo>
                  <a:lnTo>
                    <a:pt x="50" y="282"/>
                  </a:lnTo>
                  <a:close/>
                  <a:moveTo>
                    <a:pt x="38" y="265"/>
                  </a:moveTo>
                  <a:cubicBezTo>
                    <a:pt x="35" y="261"/>
                    <a:pt x="33" y="257"/>
                    <a:pt x="31" y="253"/>
                  </a:cubicBezTo>
                  <a:cubicBezTo>
                    <a:pt x="36" y="250"/>
                    <a:pt x="36" y="250"/>
                    <a:pt x="36" y="250"/>
                  </a:cubicBezTo>
                  <a:cubicBezTo>
                    <a:pt x="38" y="253"/>
                    <a:pt x="41" y="257"/>
                    <a:pt x="43" y="261"/>
                  </a:cubicBezTo>
                  <a:lnTo>
                    <a:pt x="38" y="265"/>
                  </a:lnTo>
                  <a:close/>
                  <a:moveTo>
                    <a:pt x="27" y="247"/>
                  </a:moveTo>
                  <a:cubicBezTo>
                    <a:pt x="25" y="243"/>
                    <a:pt x="22" y="238"/>
                    <a:pt x="20" y="234"/>
                  </a:cubicBezTo>
                  <a:cubicBezTo>
                    <a:pt x="26" y="231"/>
                    <a:pt x="26" y="231"/>
                    <a:pt x="26" y="231"/>
                  </a:cubicBezTo>
                  <a:cubicBezTo>
                    <a:pt x="28" y="235"/>
                    <a:pt x="30" y="240"/>
                    <a:pt x="32" y="244"/>
                  </a:cubicBezTo>
                  <a:lnTo>
                    <a:pt x="27" y="247"/>
                  </a:lnTo>
                  <a:close/>
                  <a:moveTo>
                    <a:pt x="17" y="228"/>
                  </a:moveTo>
                  <a:cubicBezTo>
                    <a:pt x="15" y="223"/>
                    <a:pt x="13" y="219"/>
                    <a:pt x="12" y="215"/>
                  </a:cubicBezTo>
                  <a:cubicBezTo>
                    <a:pt x="18" y="212"/>
                    <a:pt x="18" y="212"/>
                    <a:pt x="18" y="212"/>
                  </a:cubicBezTo>
                  <a:cubicBezTo>
                    <a:pt x="19" y="217"/>
                    <a:pt x="21" y="221"/>
                    <a:pt x="23" y="225"/>
                  </a:cubicBezTo>
                  <a:lnTo>
                    <a:pt x="17" y="228"/>
                  </a:lnTo>
                  <a:close/>
                  <a:moveTo>
                    <a:pt x="9" y="208"/>
                  </a:moveTo>
                  <a:cubicBezTo>
                    <a:pt x="8" y="204"/>
                    <a:pt x="7" y="199"/>
                    <a:pt x="5" y="194"/>
                  </a:cubicBezTo>
                  <a:cubicBezTo>
                    <a:pt x="11" y="193"/>
                    <a:pt x="11" y="193"/>
                    <a:pt x="11" y="193"/>
                  </a:cubicBezTo>
                  <a:cubicBezTo>
                    <a:pt x="13" y="197"/>
                    <a:pt x="14" y="202"/>
                    <a:pt x="15" y="206"/>
                  </a:cubicBezTo>
                  <a:lnTo>
                    <a:pt x="9" y="208"/>
                  </a:lnTo>
                  <a:close/>
                  <a:moveTo>
                    <a:pt x="483" y="203"/>
                  </a:moveTo>
                  <a:cubicBezTo>
                    <a:pt x="482" y="199"/>
                    <a:pt x="480" y="194"/>
                    <a:pt x="479" y="190"/>
                  </a:cubicBezTo>
                  <a:cubicBezTo>
                    <a:pt x="485" y="188"/>
                    <a:pt x="485" y="188"/>
                    <a:pt x="485" y="188"/>
                  </a:cubicBezTo>
                  <a:cubicBezTo>
                    <a:pt x="486" y="192"/>
                    <a:pt x="488" y="197"/>
                    <a:pt x="489" y="201"/>
                  </a:cubicBezTo>
                  <a:lnTo>
                    <a:pt x="483" y="203"/>
                  </a:lnTo>
                  <a:close/>
                  <a:moveTo>
                    <a:pt x="4" y="188"/>
                  </a:moveTo>
                  <a:cubicBezTo>
                    <a:pt x="3" y="183"/>
                    <a:pt x="2" y="178"/>
                    <a:pt x="1" y="173"/>
                  </a:cubicBezTo>
                  <a:cubicBezTo>
                    <a:pt x="7" y="173"/>
                    <a:pt x="7" y="173"/>
                    <a:pt x="7" y="173"/>
                  </a:cubicBezTo>
                  <a:cubicBezTo>
                    <a:pt x="8" y="177"/>
                    <a:pt x="9" y="182"/>
                    <a:pt x="10" y="186"/>
                  </a:cubicBezTo>
                  <a:lnTo>
                    <a:pt x="4" y="188"/>
                  </a:lnTo>
                  <a:close/>
                  <a:moveTo>
                    <a:pt x="476" y="184"/>
                  </a:moveTo>
                  <a:cubicBezTo>
                    <a:pt x="474" y="179"/>
                    <a:pt x="472" y="175"/>
                    <a:pt x="470" y="171"/>
                  </a:cubicBezTo>
                  <a:cubicBezTo>
                    <a:pt x="476" y="168"/>
                    <a:pt x="476" y="168"/>
                    <a:pt x="476" y="168"/>
                  </a:cubicBezTo>
                  <a:cubicBezTo>
                    <a:pt x="478" y="172"/>
                    <a:pt x="480" y="177"/>
                    <a:pt x="482" y="181"/>
                  </a:cubicBezTo>
                  <a:lnTo>
                    <a:pt x="476" y="184"/>
                  </a:lnTo>
                  <a:close/>
                  <a:moveTo>
                    <a:pt x="0" y="166"/>
                  </a:moveTo>
                  <a:cubicBezTo>
                    <a:pt x="0" y="162"/>
                    <a:pt x="0" y="157"/>
                    <a:pt x="0" y="152"/>
                  </a:cubicBezTo>
                  <a:cubicBezTo>
                    <a:pt x="6" y="152"/>
                    <a:pt x="6" y="152"/>
                    <a:pt x="6" y="152"/>
                  </a:cubicBezTo>
                  <a:cubicBezTo>
                    <a:pt x="6" y="157"/>
                    <a:pt x="6" y="161"/>
                    <a:pt x="7" y="166"/>
                  </a:cubicBezTo>
                  <a:lnTo>
                    <a:pt x="0" y="166"/>
                  </a:lnTo>
                  <a:close/>
                  <a:moveTo>
                    <a:pt x="467" y="165"/>
                  </a:moveTo>
                  <a:cubicBezTo>
                    <a:pt x="465" y="161"/>
                    <a:pt x="462" y="157"/>
                    <a:pt x="460" y="153"/>
                  </a:cubicBezTo>
                  <a:cubicBezTo>
                    <a:pt x="465" y="150"/>
                    <a:pt x="465" y="150"/>
                    <a:pt x="465" y="150"/>
                  </a:cubicBezTo>
                  <a:cubicBezTo>
                    <a:pt x="468" y="154"/>
                    <a:pt x="470" y="158"/>
                    <a:pt x="473" y="162"/>
                  </a:cubicBezTo>
                  <a:lnTo>
                    <a:pt x="467" y="165"/>
                  </a:lnTo>
                  <a:close/>
                  <a:moveTo>
                    <a:pt x="456" y="147"/>
                  </a:moveTo>
                  <a:cubicBezTo>
                    <a:pt x="454" y="144"/>
                    <a:pt x="451" y="140"/>
                    <a:pt x="448" y="136"/>
                  </a:cubicBezTo>
                  <a:cubicBezTo>
                    <a:pt x="453" y="132"/>
                    <a:pt x="453" y="132"/>
                    <a:pt x="453" y="132"/>
                  </a:cubicBezTo>
                  <a:cubicBezTo>
                    <a:pt x="456" y="136"/>
                    <a:pt x="459" y="140"/>
                    <a:pt x="461" y="144"/>
                  </a:cubicBezTo>
                  <a:lnTo>
                    <a:pt x="456" y="147"/>
                  </a:lnTo>
                  <a:close/>
                  <a:moveTo>
                    <a:pt x="6" y="145"/>
                  </a:moveTo>
                  <a:cubicBezTo>
                    <a:pt x="0" y="145"/>
                    <a:pt x="0" y="145"/>
                    <a:pt x="0" y="145"/>
                  </a:cubicBezTo>
                  <a:cubicBezTo>
                    <a:pt x="0" y="141"/>
                    <a:pt x="0" y="137"/>
                    <a:pt x="0" y="133"/>
                  </a:cubicBezTo>
                  <a:cubicBezTo>
                    <a:pt x="1" y="131"/>
                    <a:pt x="1" y="131"/>
                    <a:pt x="1" y="131"/>
                  </a:cubicBezTo>
                  <a:cubicBezTo>
                    <a:pt x="7" y="132"/>
                    <a:pt x="7" y="132"/>
                    <a:pt x="7" y="132"/>
                  </a:cubicBezTo>
                  <a:cubicBezTo>
                    <a:pt x="7" y="134"/>
                    <a:pt x="7" y="134"/>
                    <a:pt x="7" y="134"/>
                  </a:cubicBezTo>
                  <a:cubicBezTo>
                    <a:pt x="6" y="138"/>
                    <a:pt x="6" y="141"/>
                    <a:pt x="6" y="145"/>
                  </a:cubicBezTo>
                  <a:close/>
                  <a:moveTo>
                    <a:pt x="444" y="131"/>
                  </a:moveTo>
                  <a:cubicBezTo>
                    <a:pt x="441" y="127"/>
                    <a:pt x="438" y="123"/>
                    <a:pt x="435" y="120"/>
                  </a:cubicBezTo>
                  <a:cubicBezTo>
                    <a:pt x="440" y="116"/>
                    <a:pt x="440" y="116"/>
                    <a:pt x="440" y="116"/>
                  </a:cubicBezTo>
                  <a:cubicBezTo>
                    <a:pt x="443" y="119"/>
                    <a:pt x="446" y="123"/>
                    <a:pt x="449" y="127"/>
                  </a:cubicBezTo>
                  <a:lnTo>
                    <a:pt x="444" y="131"/>
                  </a:lnTo>
                  <a:close/>
                  <a:moveTo>
                    <a:pt x="8" y="125"/>
                  </a:moveTo>
                  <a:cubicBezTo>
                    <a:pt x="1" y="124"/>
                    <a:pt x="1" y="124"/>
                    <a:pt x="1" y="124"/>
                  </a:cubicBezTo>
                  <a:cubicBezTo>
                    <a:pt x="2" y="119"/>
                    <a:pt x="3" y="114"/>
                    <a:pt x="4" y="110"/>
                  </a:cubicBezTo>
                  <a:cubicBezTo>
                    <a:pt x="10" y="111"/>
                    <a:pt x="10" y="111"/>
                    <a:pt x="10" y="111"/>
                  </a:cubicBezTo>
                  <a:cubicBezTo>
                    <a:pt x="9" y="116"/>
                    <a:pt x="8" y="120"/>
                    <a:pt x="8" y="125"/>
                  </a:cubicBezTo>
                  <a:close/>
                  <a:moveTo>
                    <a:pt x="431" y="115"/>
                  </a:moveTo>
                  <a:cubicBezTo>
                    <a:pt x="427" y="111"/>
                    <a:pt x="424" y="108"/>
                    <a:pt x="421" y="105"/>
                  </a:cubicBezTo>
                  <a:cubicBezTo>
                    <a:pt x="425" y="100"/>
                    <a:pt x="425" y="100"/>
                    <a:pt x="425" y="100"/>
                  </a:cubicBezTo>
                  <a:cubicBezTo>
                    <a:pt x="429" y="104"/>
                    <a:pt x="432" y="107"/>
                    <a:pt x="435" y="110"/>
                  </a:cubicBezTo>
                  <a:lnTo>
                    <a:pt x="431" y="115"/>
                  </a:lnTo>
                  <a:close/>
                  <a:moveTo>
                    <a:pt x="12" y="105"/>
                  </a:moveTo>
                  <a:cubicBezTo>
                    <a:pt x="6" y="103"/>
                    <a:pt x="6" y="103"/>
                    <a:pt x="6" y="103"/>
                  </a:cubicBezTo>
                  <a:cubicBezTo>
                    <a:pt x="8" y="98"/>
                    <a:pt x="9" y="94"/>
                    <a:pt x="11" y="89"/>
                  </a:cubicBezTo>
                  <a:cubicBezTo>
                    <a:pt x="17" y="92"/>
                    <a:pt x="17" y="92"/>
                    <a:pt x="17" y="92"/>
                  </a:cubicBezTo>
                  <a:cubicBezTo>
                    <a:pt x="15" y="96"/>
                    <a:pt x="14" y="100"/>
                    <a:pt x="12" y="105"/>
                  </a:cubicBezTo>
                  <a:close/>
                  <a:moveTo>
                    <a:pt x="416" y="100"/>
                  </a:moveTo>
                  <a:cubicBezTo>
                    <a:pt x="413" y="97"/>
                    <a:pt x="409" y="94"/>
                    <a:pt x="406" y="90"/>
                  </a:cubicBezTo>
                  <a:cubicBezTo>
                    <a:pt x="410" y="86"/>
                    <a:pt x="410" y="86"/>
                    <a:pt x="410" y="86"/>
                  </a:cubicBezTo>
                  <a:cubicBezTo>
                    <a:pt x="414" y="89"/>
                    <a:pt x="417" y="92"/>
                    <a:pt x="420" y="95"/>
                  </a:cubicBezTo>
                  <a:lnTo>
                    <a:pt x="416" y="100"/>
                  </a:lnTo>
                  <a:close/>
                  <a:moveTo>
                    <a:pt x="401" y="86"/>
                  </a:moveTo>
                  <a:cubicBezTo>
                    <a:pt x="397" y="83"/>
                    <a:pt x="393" y="80"/>
                    <a:pt x="390" y="77"/>
                  </a:cubicBezTo>
                  <a:cubicBezTo>
                    <a:pt x="394" y="72"/>
                    <a:pt x="394" y="72"/>
                    <a:pt x="394" y="72"/>
                  </a:cubicBezTo>
                  <a:cubicBezTo>
                    <a:pt x="397" y="75"/>
                    <a:pt x="401" y="78"/>
                    <a:pt x="405" y="81"/>
                  </a:cubicBezTo>
                  <a:lnTo>
                    <a:pt x="401" y="86"/>
                  </a:lnTo>
                  <a:close/>
                  <a:moveTo>
                    <a:pt x="20" y="86"/>
                  </a:moveTo>
                  <a:cubicBezTo>
                    <a:pt x="14" y="83"/>
                    <a:pt x="14" y="83"/>
                    <a:pt x="14" y="83"/>
                  </a:cubicBezTo>
                  <a:cubicBezTo>
                    <a:pt x="16" y="79"/>
                    <a:pt x="18" y="74"/>
                    <a:pt x="21" y="70"/>
                  </a:cubicBezTo>
                  <a:cubicBezTo>
                    <a:pt x="26" y="74"/>
                    <a:pt x="26" y="74"/>
                    <a:pt x="26" y="74"/>
                  </a:cubicBezTo>
                  <a:cubicBezTo>
                    <a:pt x="24" y="78"/>
                    <a:pt x="22" y="82"/>
                    <a:pt x="20" y="86"/>
                  </a:cubicBezTo>
                  <a:close/>
                  <a:moveTo>
                    <a:pt x="384" y="73"/>
                  </a:moveTo>
                  <a:cubicBezTo>
                    <a:pt x="381" y="70"/>
                    <a:pt x="377" y="68"/>
                    <a:pt x="373" y="65"/>
                  </a:cubicBezTo>
                  <a:cubicBezTo>
                    <a:pt x="376" y="60"/>
                    <a:pt x="376" y="60"/>
                    <a:pt x="376" y="60"/>
                  </a:cubicBezTo>
                  <a:cubicBezTo>
                    <a:pt x="380" y="63"/>
                    <a:pt x="384" y="65"/>
                    <a:pt x="388" y="68"/>
                  </a:cubicBezTo>
                  <a:lnTo>
                    <a:pt x="384" y="73"/>
                  </a:lnTo>
                  <a:close/>
                  <a:moveTo>
                    <a:pt x="30" y="68"/>
                  </a:moveTo>
                  <a:cubicBezTo>
                    <a:pt x="25" y="65"/>
                    <a:pt x="25" y="65"/>
                    <a:pt x="25" y="65"/>
                  </a:cubicBezTo>
                  <a:cubicBezTo>
                    <a:pt x="28" y="61"/>
                    <a:pt x="31" y="57"/>
                    <a:pt x="34" y="53"/>
                  </a:cubicBezTo>
                  <a:cubicBezTo>
                    <a:pt x="39" y="58"/>
                    <a:pt x="39" y="58"/>
                    <a:pt x="39" y="58"/>
                  </a:cubicBezTo>
                  <a:cubicBezTo>
                    <a:pt x="36" y="61"/>
                    <a:pt x="33" y="65"/>
                    <a:pt x="30" y="68"/>
                  </a:cubicBezTo>
                  <a:close/>
                  <a:moveTo>
                    <a:pt x="367" y="61"/>
                  </a:moveTo>
                  <a:cubicBezTo>
                    <a:pt x="363" y="59"/>
                    <a:pt x="359" y="56"/>
                    <a:pt x="355" y="54"/>
                  </a:cubicBezTo>
                  <a:cubicBezTo>
                    <a:pt x="358" y="49"/>
                    <a:pt x="358" y="49"/>
                    <a:pt x="358" y="49"/>
                  </a:cubicBezTo>
                  <a:cubicBezTo>
                    <a:pt x="363" y="51"/>
                    <a:pt x="367" y="53"/>
                    <a:pt x="370" y="56"/>
                  </a:cubicBezTo>
                  <a:lnTo>
                    <a:pt x="367" y="61"/>
                  </a:lnTo>
                  <a:close/>
                  <a:moveTo>
                    <a:pt x="44" y="53"/>
                  </a:moveTo>
                  <a:cubicBezTo>
                    <a:pt x="39" y="48"/>
                    <a:pt x="39" y="48"/>
                    <a:pt x="39" y="48"/>
                  </a:cubicBezTo>
                  <a:cubicBezTo>
                    <a:pt x="42" y="45"/>
                    <a:pt x="46" y="42"/>
                    <a:pt x="50" y="39"/>
                  </a:cubicBezTo>
                  <a:cubicBezTo>
                    <a:pt x="54" y="44"/>
                    <a:pt x="54" y="44"/>
                    <a:pt x="54" y="44"/>
                  </a:cubicBezTo>
                  <a:cubicBezTo>
                    <a:pt x="50" y="46"/>
                    <a:pt x="47" y="50"/>
                    <a:pt x="44" y="53"/>
                  </a:cubicBezTo>
                  <a:close/>
                  <a:moveTo>
                    <a:pt x="349" y="51"/>
                  </a:moveTo>
                  <a:cubicBezTo>
                    <a:pt x="345" y="48"/>
                    <a:pt x="341" y="46"/>
                    <a:pt x="337" y="44"/>
                  </a:cubicBezTo>
                  <a:cubicBezTo>
                    <a:pt x="340" y="38"/>
                    <a:pt x="340" y="38"/>
                    <a:pt x="340" y="38"/>
                  </a:cubicBezTo>
                  <a:cubicBezTo>
                    <a:pt x="344" y="41"/>
                    <a:pt x="348" y="43"/>
                    <a:pt x="352" y="45"/>
                  </a:cubicBezTo>
                  <a:lnTo>
                    <a:pt x="349" y="51"/>
                  </a:lnTo>
                  <a:close/>
                  <a:moveTo>
                    <a:pt x="331" y="41"/>
                  </a:moveTo>
                  <a:cubicBezTo>
                    <a:pt x="327" y="39"/>
                    <a:pt x="322" y="37"/>
                    <a:pt x="318" y="35"/>
                  </a:cubicBezTo>
                  <a:cubicBezTo>
                    <a:pt x="321" y="29"/>
                    <a:pt x="321" y="29"/>
                    <a:pt x="321" y="29"/>
                  </a:cubicBezTo>
                  <a:cubicBezTo>
                    <a:pt x="325" y="31"/>
                    <a:pt x="329" y="33"/>
                    <a:pt x="334" y="35"/>
                  </a:cubicBezTo>
                  <a:lnTo>
                    <a:pt x="331" y="41"/>
                  </a:lnTo>
                  <a:close/>
                  <a:moveTo>
                    <a:pt x="59" y="39"/>
                  </a:moveTo>
                  <a:cubicBezTo>
                    <a:pt x="55" y="34"/>
                    <a:pt x="55" y="34"/>
                    <a:pt x="55" y="34"/>
                  </a:cubicBezTo>
                  <a:cubicBezTo>
                    <a:pt x="59" y="32"/>
                    <a:pt x="63" y="29"/>
                    <a:pt x="67" y="26"/>
                  </a:cubicBezTo>
                  <a:cubicBezTo>
                    <a:pt x="71" y="32"/>
                    <a:pt x="71" y="32"/>
                    <a:pt x="71" y="32"/>
                  </a:cubicBezTo>
                  <a:cubicBezTo>
                    <a:pt x="67" y="34"/>
                    <a:pt x="63" y="37"/>
                    <a:pt x="59" y="39"/>
                  </a:cubicBezTo>
                  <a:close/>
                  <a:moveTo>
                    <a:pt x="312" y="32"/>
                  </a:moveTo>
                  <a:cubicBezTo>
                    <a:pt x="308" y="31"/>
                    <a:pt x="303" y="29"/>
                    <a:pt x="299" y="27"/>
                  </a:cubicBezTo>
                  <a:cubicBezTo>
                    <a:pt x="301" y="21"/>
                    <a:pt x="301" y="21"/>
                    <a:pt x="301" y="21"/>
                  </a:cubicBezTo>
                  <a:cubicBezTo>
                    <a:pt x="305" y="23"/>
                    <a:pt x="310" y="25"/>
                    <a:pt x="314" y="27"/>
                  </a:cubicBezTo>
                  <a:lnTo>
                    <a:pt x="312" y="32"/>
                  </a:lnTo>
                  <a:close/>
                  <a:moveTo>
                    <a:pt x="77" y="28"/>
                  </a:moveTo>
                  <a:cubicBezTo>
                    <a:pt x="74" y="23"/>
                    <a:pt x="74" y="23"/>
                    <a:pt x="74" y="23"/>
                  </a:cubicBezTo>
                  <a:cubicBezTo>
                    <a:pt x="78" y="21"/>
                    <a:pt x="82" y="19"/>
                    <a:pt x="86" y="17"/>
                  </a:cubicBezTo>
                  <a:cubicBezTo>
                    <a:pt x="89" y="22"/>
                    <a:pt x="89" y="22"/>
                    <a:pt x="89" y="22"/>
                  </a:cubicBezTo>
                  <a:cubicBezTo>
                    <a:pt x="85" y="24"/>
                    <a:pt x="80" y="26"/>
                    <a:pt x="77" y="28"/>
                  </a:cubicBezTo>
                  <a:close/>
                  <a:moveTo>
                    <a:pt x="292" y="25"/>
                  </a:moveTo>
                  <a:cubicBezTo>
                    <a:pt x="288" y="24"/>
                    <a:pt x="284" y="22"/>
                    <a:pt x="279" y="21"/>
                  </a:cubicBezTo>
                  <a:cubicBezTo>
                    <a:pt x="281" y="15"/>
                    <a:pt x="281" y="15"/>
                    <a:pt x="281" y="15"/>
                  </a:cubicBezTo>
                  <a:cubicBezTo>
                    <a:pt x="285" y="16"/>
                    <a:pt x="290" y="18"/>
                    <a:pt x="294" y="19"/>
                  </a:cubicBezTo>
                  <a:lnTo>
                    <a:pt x="292" y="25"/>
                  </a:lnTo>
                  <a:close/>
                  <a:moveTo>
                    <a:pt x="95" y="20"/>
                  </a:moveTo>
                  <a:cubicBezTo>
                    <a:pt x="93" y="14"/>
                    <a:pt x="93" y="14"/>
                    <a:pt x="93" y="14"/>
                  </a:cubicBezTo>
                  <a:cubicBezTo>
                    <a:pt x="97" y="12"/>
                    <a:pt x="102" y="11"/>
                    <a:pt x="106" y="9"/>
                  </a:cubicBezTo>
                  <a:cubicBezTo>
                    <a:pt x="108" y="15"/>
                    <a:pt x="108" y="15"/>
                    <a:pt x="108" y="15"/>
                  </a:cubicBezTo>
                  <a:cubicBezTo>
                    <a:pt x="104" y="17"/>
                    <a:pt x="99" y="18"/>
                    <a:pt x="95" y="20"/>
                  </a:cubicBezTo>
                  <a:close/>
                  <a:moveTo>
                    <a:pt x="272" y="19"/>
                  </a:moveTo>
                  <a:cubicBezTo>
                    <a:pt x="268" y="18"/>
                    <a:pt x="263" y="17"/>
                    <a:pt x="259" y="16"/>
                  </a:cubicBezTo>
                  <a:cubicBezTo>
                    <a:pt x="260" y="9"/>
                    <a:pt x="260" y="9"/>
                    <a:pt x="260" y="9"/>
                  </a:cubicBezTo>
                  <a:cubicBezTo>
                    <a:pt x="265" y="10"/>
                    <a:pt x="270" y="12"/>
                    <a:pt x="274" y="13"/>
                  </a:cubicBezTo>
                  <a:lnTo>
                    <a:pt x="272" y="19"/>
                  </a:lnTo>
                  <a:close/>
                  <a:moveTo>
                    <a:pt x="252" y="14"/>
                  </a:moveTo>
                  <a:cubicBezTo>
                    <a:pt x="248" y="13"/>
                    <a:pt x="243" y="12"/>
                    <a:pt x="239" y="11"/>
                  </a:cubicBezTo>
                  <a:cubicBezTo>
                    <a:pt x="240" y="5"/>
                    <a:pt x="240" y="5"/>
                    <a:pt x="240" y="5"/>
                  </a:cubicBezTo>
                  <a:cubicBezTo>
                    <a:pt x="244" y="6"/>
                    <a:pt x="249" y="7"/>
                    <a:pt x="254" y="8"/>
                  </a:cubicBezTo>
                  <a:lnTo>
                    <a:pt x="252" y="14"/>
                  </a:lnTo>
                  <a:close/>
                  <a:moveTo>
                    <a:pt x="115" y="13"/>
                  </a:moveTo>
                  <a:cubicBezTo>
                    <a:pt x="113" y="7"/>
                    <a:pt x="113" y="7"/>
                    <a:pt x="113" y="7"/>
                  </a:cubicBezTo>
                  <a:cubicBezTo>
                    <a:pt x="118" y="6"/>
                    <a:pt x="122" y="5"/>
                    <a:pt x="127" y="4"/>
                  </a:cubicBezTo>
                  <a:cubicBezTo>
                    <a:pt x="128" y="10"/>
                    <a:pt x="128" y="10"/>
                    <a:pt x="128" y="10"/>
                  </a:cubicBezTo>
                  <a:cubicBezTo>
                    <a:pt x="124" y="11"/>
                    <a:pt x="119" y="12"/>
                    <a:pt x="115" y="13"/>
                  </a:cubicBezTo>
                  <a:close/>
                  <a:moveTo>
                    <a:pt x="232" y="10"/>
                  </a:moveTo>
                  <a:cubicBezTo>
                    <a:pt x="227" y="10"/>
                    <a:pt x="223" y="9"/>
                    <a:pt x="218" y="9"/>
                  </a:cubicBezTo>
                  <a:cubicBezTo>
                    <a:pt x="219" y="2"/>
                    <a:pt x="219" y="2"/>
                    <a:pt x="219" y="2"/>
                  </a:cubicBezTo>
                  <a:cubicBezTo>
                    <a:pt x="223" y="3"/>
                    <a:pt x="228" y="3"/>
                    <a:pt x="233" y="4"/>
                  </a:cubicBezTo>
                  <a:lnTo>
                    <a:pt x="232" y="10"/>
                  </a:lnTo>
                  <a:close/>
                  <a:moveTo>
                    <a:pt x="135" y="9"/>
                  </a:moveTo>
                  <a:cubicBezTo>
                    <a:pt x="134" y="3"/>
                    <a:pt x="134" y="3"/>
                    <a:pt x="134" y="3"/>
                  </a:cubicBezTo>
                  <a:cubicBezTo>
                    <a:pt x="138" y="2"/>
                    <a:pt x="142" y="2"/>
                    <a:pt x="146" y="1"/>
                  </a:cubicBezTo>
                  <a:cubicBezTo>
                    <a:pt x="148" y="1"/>
                    <a:pt x="148" y="1"/>
                    <a:pt x="148" y="1"/>
                  </a:cubicBezTo>
                  <a:cubicBezTo>
                    <a:pt x="149" y="8"/>
                    <a:pt x="149" y="8"/>
                    <a:pt x="149" y="8"/>
                  </a:cubicBezTo>
                  <a:cubicBezTo>
                    <a:pt x="146" y="8"/>
                    <a:pt x="146" y="8"/>
                    <a:pt x="146" y="8"/>
                  </a:cubicBezTo>
                  <a:cubicBezTo>
                    <a:pt x="143" y="8"/>
                    <a:pt x="139" y="9"/>
                    <a:pt x="135" y="9"/>
                  </a:cubicBezTo>
                  <a:close/>
                  <a:moveTo>
                    <a:pt x="211" y="8"/>
                  </a:moveTo>
                  <a:cubicBezTo>
                    <a:pt x="207" y="7"/>
                    <a:pt x="202" y="7"/>
                    <a:pt x="197" y="7"/>
                  </a:cubicBezTo>
                  <a:cubicBezTo>
                    <a:pt x="198" y="1"/>
                    <a:pt x="198" y="1"/>
                    <a:pt x="198" y="1"/>
                  </a:cubicBezTo>
                  <a:cubicBezTo>
                    <a:pt x="202" y="1"/>
                    <a:pt x="207" y="1"/>
                    <a:pt x="212" y="2"/>
                  </a:cubicBezTo>
                  <a:lnTo>
                    <a:pt x="211" y="8"/>
                  </a:lnTo>
                  <a:close/>
                  <a:moveTo>
                    <a:pt x="156" y="7"/>
                  </a:moveTo>
                  <a:cubicBezTo>
                    <a:pt x="155" y="1"/>
                    <a:pt x="155" y="1"/>
                    <a:pt x="155" y="1"/>
                  </a:cubicBezTo>
                  <a:cubicBezTo>
                    <a:pt x="160" y="0"/>
                    <a:pt x="165" y="0"/>
                    <a:pt x="169" y="0"/>
                  </a:cubicBezTo>
                  <a:cubicBezTo>
                    <a:pt x="170" y="6"/>
                    <a:pt x="170" y="6"/>
                    <a:pt x="170" y="6"/>
                  </a:cubicBezTo>
                  <a:cubicBezTo>
                    <a:pt x="165" y="7"/>
                    <a:pt x="160" y="7"/>
                    <a:pt x="156" y="7"/>
                  </a:cubicBezTo>
                  <a:close/>
                  <a:moveTo>
                    <a:pt x="190" y="7"/>
                  </a:moveTo>
                  <a:cubicBezTo>
                    <a:pt x="186" y="6"/>
                    <a:pt x="183" y="6"/>
                    <a:pt x="179" y="6"/>
                  </a:cubicBezTo>
                  <a:cubicBezTo>
                    <a:pt x="176" y="6"/>
                    <a:pt x="176" y="6"/>
                    <a:pt x="176" y="6"/>
                  </a:cubicBezTo>
                  <a:cubicBezTo>
                    <a:pt x="176" y="0"/>
                    <a:pt x="176" y="0"/>
                    <a:pt x="176" y="0"/>
                  </a:cubicBezTo>
                  <a:cubicBezTo>
                    <a:pt x="179" y="0"/>
                    <a:pt x="179" y="0"/>
                    <a:pt x="179" y="0"/>
                  </a:cubicBezTo>
                  <a:cubicBezTo>
                    <a:pt x="183" y="0"/>
                    <a:pt x="187" y="0"/>
                    <a:pt x="191" y="0"/>
                  </a:cubicBezTo>
                  <a:lnTo>
                    <a:pt x="1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18" name="bIg Eye"/>
          <p:cNvGrpSpPr/>
          <p:nvPr userDrawn="1"/>
        </p:nvGrpSpPr>
        <p:grpSpPr>
          <a:xfrm>
            <a:off x="7281760" y="4670214"/>
            <a:ext cx="794277" cy="469104"/>
            <a:chOff x="2665413" y="2318584"/>
            <a:chExt cx="962025" cy="568325"/>
          </a:xfrm>
          <a:solidFill>
            <a:schemeClr val="tx2"/>
          </a:solidFill>
        </p:grpSpPr>
        <p:sp>
          <p:nvSpPr>
            <p:cNvPr id="19" name="Freeform 8"/>
            <p:cNvSpPr>
              <a:spLocks noEditPoints="1"/>
            </p:cNvSpPr>
            <p:nvPr userDrawn="1"/>
          </p:nvSpPr>
          <p:spPr bwMode="auto">
            <a:xfrm>
              <a:off x="3051176" y="2504321"/>
              <a:ext cx="190500" cy="188913"/>
            </a:xfrm>
            <a:custGeom>
              <a:avLst/>
              <a:gdLst>
                <a:gd name="T0" fmla="*/ 45 w 70"/>
                <a:gd name="T1" fmla="*/ 5 h 69"/>
                <a:gd name="T2" fmla="*/ 6 w 70"/>
                <a:gd name="T3" fmla="*/ 24 h 69"/>
                <a:gd name="T4" fmla="*/ 25 w 70"/>
                <a:gd name="T5" fmla="*/ 64 h 69"/>
                <a:gd name="T6" fmla="*/ 64 w 70"/>
                <a:gd name="T7" fmla="*/ 45 h 69"/>
                <a:gd name="T8" fmla="*/ 45 w 70"/>
                <a:gd name="T9" fmla="*/ 5 h 69"/>
                <a:gd name="T10" fmla="*/ 28 w 70"/>
                <a:gd name="T11" fmla="*/ 53 h 69"/>
                <a:gd name="T12" fmla="*/ 16 w 70"/>
                <a:gd name="T13" fmla="*/ 28 h 69"/>
                <a:gd name="T14" fmla="*/ 41 w 70"/>
                <a:gd name="T15" fmla="*/ 16 h 69"/>
                <a:gd name="T16" fmla="*/ 54 w 70"/>
                <a:gd name="T17" fmla="*/ 41 h 69"/>
                <a:gd name="T18" fmla="*/ 28 w 70"/>
                <a:gd name="T1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69">
                  <a:moveTo>
                    <a:pt x="45" y="5"/>
                  </a:moveTo>
                  <a:cubicBezTo>
                    <a:pt x="29" y="0"/>
                    <a:pt x="11" y="8"/>
                    <a:pt x="6" y="24"/>
                  </a:cubicBezTo>
                  <a:cubicBezTo>
                    <a:pt x="0" y="41"/>
                    <a:pt x="9" y="58"/>
                    <a:pt x="25" y="64"/>
                  </a:cubicBezTo>
                  <a:cubicBezTo>
                    <a:pt x="41" y="69"/>
                    <a:pt x="59" y="61"/>
                    <a:pt x="64" y="45"/>
                  </a:cubicBezTo>
                  <a:cubicBezTo>
                    <a:pt x="70" y="28"/>
                    <a:pt x="61" y="11"/>
                    <a:pt x="45" y="5"/>
                  </a:cubicBezTo>
                  <a:moveTo>
                    <a:pt x="28" y="53"/>
                  </a:moveTo>
                  <a:cubicBezTo>
                    <a:pt x="18" y="50"/>
                    <a:pt x="12" y="38"/>
                    <a:pt x="16" y="28"/>
                  </a:cubicBezTo>
                  <a:cubicBezTo>
                    <a:pt x="20" y="18"/>
                    <a:pt x="31" y="12"/>
                    <a:pt x="41" y="16"/>
                  </a:cubicBezTo>
                  <a:cubicBezTo>
                    <a:pt x="52" y="19"/>
                    <a:pt x="57" y="31"/>
                    <a:pt x="54" y="41"/>
                  </a:cubicBezTo>
                  <a:cubicBezTo>
                    <a:pt x="50" y="51"/>
                    <a:pt x="39" y="57"/>
                    <a:pt x="28"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0" name="Freeform 9"/>
            <p:cNvSpPr>
              <a:spLocks noEditPoints="1"/>
            </p:cNvSpPr>
            <p:nvPr userDrawn="1"/>
          </p:nvSpPr>
          <p:spPr bwMode="auto">
            <a:xfrm>
              <a:off x="2665413" y="2318584"/>
              <a:ext cx="962025" cy="568325"/>
            </a:xfrm>
            <a:custGeom>
              <a:avLst/>
              <a:gdLst>
                <a:gd name="T0" fmla="*/ 199 w 352"/>
                <a:gd name="T1" fmla="*/ 31 h 208"/>
                <a:gd name="T2" fmla="*/ 0 w 352"/>
                <a:gd name="T3" fmla="*/ 42 h 208"/>
                <a:gd name="T4" fmla="*/ 155 w 352"/>
                <a:gd name="T5" fmla="*/ 174 h 208"/>
                <a:gd name="T6" fmla="*/ 352 w 352"/>
                <a:gd name="T7" fmla="*/ 163 h 208"/>
                <a:gd name="T8" fmla="*/ 199 w 352"/>
                <a:gd name="T9" fmla="*/ 31 h 208"/>
                <a:gd name="T10" fmla="*/ 157 w 352"/>
                <a:gd name="T11" fmla="*/ 156 h 208"/>
                <a:gd name="T12" fmla="*/ 122 w 352"/>
                <a:gd name="T13" fmla="*/ 84 h 208"/>
                <a:gd name="T14" fmla="*/ 195 w 352"/>
                <a:gd name="T15" fmla="*/ 49 h 208"/>
                <a:gd name="T16" fmla="*/ 230 w 352"/>
                <a:gd name="T17" fmla="*/ 121 h 208"/>
                <a:gd name="T18" fmla="*/ 157 w 352"/>
                <a:gd name="T19" fmla="*/ 15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2" h="208">
                  <a:moveTo>
                    <a:pt x="199" y="31"/>
                  </a:moveTo>
                  <a:cubicBezTo>
                    <a:pt x="107" y="0"/>
                    <a:pt x="0" y="42"/>
                    <a:pt x="0" y="42"/>
                  </a:cubicBezTo>
                  <a:cubicBezTo>
                    <a:pt x="0" y="42"/>
                    <a:pt x="55" y="140"/>
                    <a:pt x="155" y="174"/>
                  </a:cubicBezTo>
                  <a:cubicBezTo>
                    <a:pt x="254" y="208"/>
                    <a:pt x="352" y="163"/>
                    <a:pt x="352" y="163"/>
                  </a:cubicBezTo>
                  <a:cubicBezTo>
                    <a:pt x="352" y="163"/>
                    <a:pt x="290" y="63"/>
                    <a:pt x="199" y="31"/>
                  </a:cubicBezTo>
                  <a:moveTo>
                    <a:pt x="157" y="156"/>
                  </a:moveTo>
                  <a:cubicBezTo>
                    <a:pt x="128" y="146"/>
                    <a:pt x="112" y="114"/>
                    <a:pt x="122" y="84"/>
                  </a:cubicBezTo>
                  <a:cubicBezTo>
                    <a:pt x="132" y="54"/>
                    <a:pt x="165" y="39"/>
                    <a:pt x="195" y="49"/>
                  </a:cubicBezTo>
                  <a:cubicBezTo>
                    <a:pt x="224" y="59"/>
                    <a:pt x="240" y="91"/>
                    <a:pt x="230" y="121"/>
                  </a:cubicBezTo>
                  <a:cubicBezTo>
                    <a:pt x="219" y="151"/>
                    <a:pt x="187" y="166"/>
                    <a:pt x="157" y="15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sp>
        <p:nvSpPr>
          <p:cNvPr id="21" name="Line to bugle"/>
          <p:cNvSpPr>
            <a:spLocks noChangeArrowheads="1"/>
          </p:cNvSpPr>
          <p:nvPr userDrawn="1"/>
        </p:nvSpPr>
        <p:spPr bwMode="auto">
          <a:xfrm>
            <a:off x="6879380" y="5806285"/>
            <a:ext cx="19661" cy="5254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2" name="Bugle"/>
          <p:cNvSpPr>
            <a:spLocks/>
          </p:cNvSpPr>
          <p:nvPr userDrawn="1"/>
        </p:nvSpPr>
        <p:spPr bwMode="auto">
          <a:xfrm>
            <a:off x="6614621" y="6260975"/>
            <a:ext cx="490197" cy="252897"/>
          </a:xfrm>
          <a:custGeom>
            <a:avLst/>
            <a:gdLst>
              <a:gd name="T0" fmla="*/ 374 w 374"/>
              <a:gd name="T1" fmla="*/ 97 h 193"/>
              <a:gd name="T2" fmla="*/ 348 w 374"/>
              <a:gd name="T3" fmla="*/ 76 h 193"/>
              <a:gd name="T4" fmla="*/ 348 w 374"/>
              <a:gd name="T5" fmla="*/ 93 h 193"/>
              <a:gd name="T6" fmla="*/ 269 w 374"/>
              <a:gd name="T7" fmla="*/ 93 h 193"/>
              <a:gd name="T8" fmla="*/ 200 w 374"/>
              <a:gd name="T9" fmla="*/ 42 h 193"/>
              <a:gd name="T10" fmla="*/ 200 w 374"/>
              <a:gd name="T11" fmla="*/ 93 h 193"/>
              <a:gd name="T12" fmla="*/ 124 w 374"/>
              <a:gd name="T13" fmla="*/ 93 h 193"/>
              <a:gd name="T14" fmla="*/ 0 w 374"/>
              <a:gd name="T15" fmla="*/ 0 h 193"/>
              <a:gd name="T16" fmla="*/ 0 w 374"/>
              <a:gd name="T17" fmla="*/ 193 h 193"/>
              <a:gd name="T18" fmla="*/ 124 w 374"/>
              <a:gd name="T19" fmla="*/ 100 h 193"/>
              <a:gd name="T20" fmla="*/ 200 w 374"/>
              <a:gd name="T21" fmla="*/ 100 h 193"/>
              <a:gd name="T22" fmla="*/ 200 w 374"/>
              <a:gd name="T23" fmla="*/ 152 h 193"/>
              <a:gd name="T24" fmla="*/ 269 w 374"/>
              <a:gd name="T25" fmla="*/ 100 h 193"/>
              <a:gd name="T26" fmla="*/ 348 w 374"/>
              <a:gd name="T27" fmla="*/ 100 h 193"/>
              <a:gd name="T28" fmla="*/ 348 w 374"/>
              <a:gd name="T29" fmla="*/ 116 h 193"/>
              <a:gd name="T30" fmla="*/ 374 w 374"/>
              <a:gd name="T31" fmla="*/ 9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4" h="193">
                <a:moveTo>
                  <a:pt x="374" y="97"/>
                </a:moveTo>
                <a:lnTo>
                  <a:pt x="348" y="76"/>
                </a:lnTo>
                <a:lnTo>
                  <a:pt x="348" y="93"/>
                </a:lnTo>
                <a:lnTo>
                  <a:pt x="269" y="93"/>
                </a:lnTo>
                <a:lnTo>
                  <a:pt x="200" y="42"/>
                </a:lnTo>
                <a:lnTo>
                  <a:pt x="200" y="93"/>
                </a:lnTo>
                <a:lnTo>
                  <a:pt x="124" y="93"/>
                </a:lnTo>
                <a:lnTo>
                  <a:pt x="0" y="0"/>
                </a:lnTo>
                <a:lnTo>
                  <a:pt x="0" y="193"/>
                </a:lnTo>
                <a:lnTo>
                  <a:pt x="124" y="100"/>
                </a:lnTo>
                <a:lnTo>
                  <a:pt x="200" y="100"/>
                </a:lnTo>
                <a:lnTo>
                  <a:pt x="200" y="152"/>
                </a:lnTo>
                <a:lnTo>
                  <a:pt x="269" y="100"/>
                </a:lnTo>
                <a:lnTo>
                  <a:pt x="348" y="100"/>
                </a:lnTo>
                <a:lnTo>
                  <a:pt x="348" y="116"/>
                </a:lnTo>
                <a:lnTo>
                  <a:pt x="374" y="97"/>
                </a:lnTo>
                <a:close/>
              </a:path>
            </a:pathLst>
          </a:custGeom>
          <a:solidFill>
            <a:srgbClr val="FCB5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23" name="Arrow round wheel 2"/>
          <p:cNvGrpSpPr/>
          <p:nvPr userDrawn="1"/>
        </p:nvGrpSpPr>
        <p:grpSpPr>
          <a:xfrm>
            <a:off x="6078550" y="5405319"/>
            <a:ext cx="811316" cy="564759"/>
            <a:chOff x="1208088" y="3209171"/>
            <a:chExt cx="982663" cy="684213"/>
          </a:xfrm>
        </p:grpSpPr>
        <p:sp>
          <p:nvSpPr>
            <p:cNvPr id="24" name="Freeform 12"/>
            <p:cNvSpPr>
              <a:spLocks noEditPoints="1"/>
            </p:cNvSpPr>
            <p:nvPr userDrawn="1"/>
          </p:nvSpPr>
          <p:spPr bwMode="auto">
            <a:xfrm>
              <a:off x="1208088" y="3220284"/>
              <a:ext cx="120650" cy="114300"/>
            </a:xfrm>
            <a:custGeom>
              <a:avLst/>
              <a:gdLst>
                <a:gd name="T0" fmla="*/ 76 w 76"/>
                <a:gd name="T1" fmla="*/ 72 h 72"/>
                <a:gd name="T2" fmla="*/ 0 w 76"/>
                <a:gd name="T3" fmla="*/ 58 h 72"/>
                <a:gd name="T4" fmla="*/ 48 w 76"/>
                <a:gd name="T5" fmla="*/ 0 h 72"/>
                <a:gd name="T6" fmla="*/ 76 w 76"/>
                <a:gd name="T7" fmla="*/ 72 h 72"/>
                <a:gd name="T8" fmla="*/ 17 w 76"/>
                <a:gd name="T9" fmla="*/ 51 h 72"/>
                <a:gd name="T10" fmla="*/ 62 w 76"/>
                <a:gd name="T11" fmla="*/ 60 h 72"/>
                <a:gd name="T12" fmla="*/ 46 w 76"/>
                <a:gd name="T13" fmla="*/ 19 h 72"/>
                <a:gd name="T14" fmla="*/ 17 w 76"/>
                <a:gd name="T15" fmla="*/ 51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2">
                  <a:moveTo>
                    <a:pt x="76" y="72"/>
                  </a:moveTo>
                  <a:lnTo>
                    <a:pt x="0" y="58"/>
                  </a:lnTo>
                  <a:lnTo>
                    <a:pt x="48" y="0"/>
                  </a:lnTo>
                  <a:lnTo>
                    <a:pt x="76" y="72"/>
                  </a:lnTo>
                  <a:close/>
                  <a:moveTo>
                    <a:pt x="17" y="51"/>
                  </a:moveTo>
                  <a:lnTo>
                    <a:pt x="62" y="60"/>
                  </a:lnTo>
                  <a:lnTo>
                    <a:pt x="46" y="19"/>
                  </a:lnTo>
                  <a:lnTo>
                    <a:pt x="17"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5" name="Freeform 13"/>
            <p:cNvSpPr>
              <a:spLocks noEditPoints="1"/>
            </p:cNvSpPr>
            <p:nvPr userDrawn="1"/>
          </p:nvSpPr>
          <p:spPr bwMode="auto">
            <a:xfrm>
              <a:off x="1249363" y="3209171"/>
              <a:ext cx="941388" cy="684213"/>
            </a:xfrm>
            <a:custGeom>
              <a:avLst/>
              <a:gdLst>
                <a:gd name="T0" fmla="*/ 170 w 345"/>
                <a:gd name="T1" fmla="*/ 245 h 251"/>
                <a:gd name="T2" fmla="*/ 173 w 345"/>
                <a:gd name="T3" fmla="*/ 251 h 251"/>
                <a:gd name="T4" fmla="*/ 149 w 345"/>
                <a:gd name="T5" fmla="*/ 243 h 251"/>
                <a:gd name="T6" fmla="*/ 191 w 345"/>
                <a:gd name="T7" fmla="*/ 251 h 251"/>
                <a:gd name="T8" fmla="*/ 205 w 345"/>
                <a:gd name="T9" fmla="*/ 248 h 251"/>
                <a:gd name="T10" fmla="*/ 127 w 345"/>
                <a:gd name="T11" fmla="*/ 245 h 251"/>
                <a:gd name="T12" fmla="*/ 141 w 345"/>
                <a:gd name="T13" fmla="*/ 249 h 251"/>
                <a:gd name="T14" fmla="*/ 224 w 345"/>
                <a:gd name="T15" fmla="*/ 237 h 251"/>
                <a:gd name="T16" fmla="*/ 121 w 345"/>
                <a:gd name="T17" fmla="*/ 243 h 251"/>
                <a:gd name="T18" fmla="*/ 123 w 345"/>
                <a:gd name="T19" fmla="*/ 237 h 251"/>
                <a:gd name="T20" fmla="*/ 230 w 345"/>
                <a:gd name="T21" fmla="*/ 235 h 251"/>
                <a:gd name="T22" fmla="*/ 233 w 345"/>
                <a:gd name="T23" fmla="*/ 241 h 251"/>
                <a:gd name="T24" fmla="*/ 91 w 345"/>
                <a:gd name="T25" fmla="*/ 224 h 251"/>
                <a:gd name="T26" fmla="*/ 252 w 345"/>
                <a:gd name="T27" fmla="*/ 232 h 251"/>
                <a:gd name="T28" fmla="*/ 265 w 345"/>
                <a:gd name="T29" fmla="*/ 225 h 251"/>
                <a:gd name="T30" fmla="*/ 81 w 345"/>
                <a:gd name="T31" fmla="*/ 225 h 251"/>
                <a:gd name="T32" fmla="*/ 85 w 345"/>
                <a:gd name="T33" fmla="*/ 220 h 251"/>
                <a:gd name="T34" fmla="*/ 271 w 345"/>
                <a:gd name="T35" fmla="*/ 222 h 251"/>
                <a:gd name="T36" fmla="*/ 282 w 345"/>
                <a:gd name="T37" fmla="*/ 213 h 251"/>
                <a:gd name="T38" fmla="*/ 54 w 345"/>
                <a:gd name="T39" fmla="*/ 204 h 251"/>
                <a:gd name="T40" fmla="*/ 64 w 345"/>
                <a:gd name="T41" fmla="*/ 213 h 251"/>
                <a:gd name="T42" fmla="*/ 293 w 345"/>
                <a:gd name="T43" fmla="*/ 194 h 251"/>
                <a:gd name="T44" fmla="*/ 49 w 345"/>
                <a:gd name="T45" fmla="*/ 199 h 251"/>
                <a:gd name="T46" fmla="*/ 53 w 345"/>
                <a:gd name="T47" fmla="*/ 194 h 251"/>
                <a:gd name="T48" fmla="*/ 298 w 345"/>
                <a:gd name="T49" fmla="*/ 189 h 251"/>
                <a:gd name="T50" fmla="*/ 303 w 345"/>
                <a:gd name="T51" fmla="*/ 193 h 251"/>
                <a:gd name="T52" fmla="*/ 32 w 345"/>
                <a:gd name="T53" fmla="*/ 167 h 251"/>
                <a:gd name="T54" fmla="*/ 316 w 345"/>
                <a:gd name="T55" fmla="*/ 177 h 251"/>
                <a:gd name="T56" fmla="*/ 318 w 345"/>
                <a:gd name="T57" fmla="*/ 161 h 251"/>
                <a:gd name="T58" fmla="*/ 316 w 345"/>
                <a:gd name="T59" fmla="*/ 177 h 251"/>
                <a:gd name="T60" fmla="*/ 22 w 345"/>
                <a:gd name="T61" fmla="*/ 149 h 251"/>
                <a:gd name="T62" fmla="*/ 327 w 345"/>
                <a:gd name="T63" fmla="*/ 158 h 251"/>
                <a:gd name="T64" fmla="*/ 333 w 345"/>
                <a:gd name="T65" fmla="*/ 145 h 251"/>
                <a:gd name="T66" fmla="*/ 8 w 345"/>
                <a:gd name="T67" fmla="*/ 132 h 251"/>
                <a:gd name="T68" fmla="*/ 13 w 345"/>
                <a:gd name="T69" fmla="*/ 146 h 251"/>
                <a:gd name="T70" fmla="*/ 333 w 345"/>
                <a:gd name="T71" fmla="*/ 123 h 251"/>
                <a:gd name="T72" fmla="*/ 6 w 345"/>
                <a:gd name="T73" fmla="*/ 125 h 251"/>
                <a:gd name="T74" fmla="*/ 12 w 345"/>
                <a:gd name="T75" fmla="*/ 124 h 251"/>
                <a:gd name="T76" fmla="*/ 335 w 345"/>
                <a:gd name="T77" fmla="*/ 117 h 251"/>
                <a:gd name="T78" fmla="*/ 341 w 345"/>
                <a:gd name="T79" fmla="*/ 118 h 251"/>
                <a:gd name="T80" fmla="*/ 6 w 345"/>
                <a:gd name="T81" fmla="*/ 90 h 251"/>
                <a:gd name="T82" fmla="*/ 344 w 345"/>
                <a:gd name="T83" fmla="*/ 97 h 251"/>
                <a:gd name="T84" fmla="*/ 345 w 345"/>
                <a:gd name="T85" fmla="*/ 83 h 251"/>
                <a:gd name="T86" fmla="*/ 0 w 345"/>
                <a:gd name="T87" fmla="*/ 78 h 251"/>
                <a:gd name="T88" fmla="*/ 6 w 345"/>
                <a:gd name="T89" fmla="*/ 78 h 251"/>
                <a:gd name="T90" fmla="*/ 339 w 345"/>
                <a:gd name="T91" fmla="*/ 76 h 251"/>
                <a:gd name="T92" fmla="*/ 345 w 345"/>
                <a:gd name="T93" fmla="*/ 76 h 251"/>
                <a:gd name="T94" fmla="*/ 0 w 345"/>
                <a:gd name="T95" fmla="*/ 62 h 251"/>
                <a:gd name="T96" fmla="*/ 7 w 345"/>
                <a:gd name="T97" fmla="*/ 63 h 251"/>
                <a:gd name="T98" fmla="*/ 342 w 345"/>
                <a:gd name="T99" fmla="*/ 40 h 251"/>
                <a:gd name="T100" fmla="*/ 334 w 345"/>
                <a:gd name="T101" fmla="*/ 35 h 251"/>
                <a:gd name="T102" fmla="*/ 340 w 345"/>
                <a:gd name="T103" fmla="*/ 33 h 251"/>
                <a:gd name="T104" fmla="*/ 323 w 345"/>
                <a:gd name="T105" fmla="*/ 3 h 251"/>
                <a:gd name="T106" fmla="*/ 328 w 345"/>
                <a:gd name="T107"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251">
                  <a:moveTo>
                    <a:pt x="173" y="251"/>
                  </a:moveTo>
                  <a:cubicBezTo>
                    <a:pt x="172" y="251"/>
                    <a:pt x="171" y="251"/>
                    <a:pt x="170" y="251"/>
                  </a:cubicBezTo>
                  <a:cubicBezTo>
                    <a:pt x="170" y="245"/>
                    <a:pt x="170" y="245"/>
                    <a:pt x="170" y="245"/>
                  </a:cubicBezTo>
                  <a:cubicBezTo>
                    <a:pt x="174" y="245"/>
                    <a:pt x="179" y="245"/>
                    <a:pt x="184" y="245"/>
                  </a:cubicBezTo>
                  <a:cubicBezTo>
                    <a:pt x="184" y="251"/>
                    <a:pt x="184" y="251"/>
                    <a:pt x="184" y="251"/>
                  </a:cubicBezTo>
                  <a:cubicBezTo>
                    <a:pt x="180" y="251"/>
                    <a:pt x="177" y="251"/>
                    <a:pt x="173" y="251"/>
                  </a:cubicBezTo>
                  <a:close/>
                  <a:moveTo>
                    <a:pt x="163" y="251"/>
                  </a:moveTo>
                  <a:cubicBezTo>
                    <a:pt x="158" y="251"/>
                    <a:pt x="153" y="250"/>
                    <a:pt x="148" y="250"/>
                  </a:cubicBezTo>
                  <a:cubicBezTo>
                    <a:pt x="149" y="243"/>
                    <a:pt x="149" y="243"/>
                    <a:pt x="149" y="243"/>
                  </a:cubicBezTo>
                  <a:cubicBezTo>
                    <a:pt x="154" y="244"/>
                    <a:pt x="158" y="245"/>
                    <a:pt x="163" y="245"/>
                  </a:cubicBezTo>
                  <a:lnTo>
                    <a:pt x="163" y="251"/>
                  </a:lnTo>
                  <a:close/>
                  <a:moveTo>
                    <a:pt x="191" y="251"/>
                  </a:moveTo>
                  <a:cubicBezTo>
                    <a:pt x="190" y="244"/>
                    <a:pt x="190" y="244"/>
                    <a:pt x="190" y="244"/>
                  </a:cubicBezTo>
                  <a:cubicBezTo>
                    <a:pt x="195" y="244"/>
                    <a:pt x="199" y="243"/>
                    <a:pt x="204" y="242"/>
                  </a:cubicBezTo>
                  <a:cubicBezTo>
                    <a:pt x="205" y="248"/>
                    <a:pt x="205" y="248"/>
                    <a:pt x="205" y="248"/>
                  </a:cubicBezTo>
                  <a:cubicBezTo>
                    <a:pt x="200" y="249"/>
                    <a:pt x="196" y="250"/>
                    <a:pt x="191" y="251"/>
                  </a:cubicBezTo>
                  <a:close/>
                  <a:moveTo>
                    <a:pt x="141" y="249"/>
                  </a:moveTo>
                  <a:cubicBezTo>
                    <a:pt x="137" y="248"/>
                    <a:pt x="132" y="247"/>
                    <a:pt x="127" y="245"/>
                  </a:cubicBezTo>
                  <a:cubicBezTo>
                    <a:pt x="129" y="239"/>
                    <a:pt x="129" y="239"/>
                    <a:pt x="129" y="239"/>
                  </a:cubicBezTo>
                  <a:cubicBezTo>
                    <a:pt x="133" y="240"/>
                    <a:pt x="138" y="241"/>
                    <a:pt x="142" y="242"/>
                  </a:cubicBezTo>
                  <a:lnTo>
                    <a:pt x="141" y="249"/>
                  </a:lnTo>
                  <a:close/>
                  <a:moveTo>
                    <a:pt x="212" y="247"/>
                  </a:moveTo>
                  <a:cubicBezTo>
                    <a:pt x="211" y="241"/>
                    <a:pt x="211" y="241"/>
                    <a:pt x="211" y="241"/>
                  </a:cubicBezTo>
                  <a:cubicBezTo>
                    <a:pt x="215" y="240"/>
                    <a:pt x="220" y="239"/>
                    <a:pt x="224" y="237"/>
                  </a:cubicBezTo>
                  <a:cubicBezTo>
                    <a:pt x="226" y="243"/>
                    <a:pt x="226" y="243"/>
                    <a:pt x="226" y="243"/>
                  </a:cubicBezTo>
                  <a:cubicBezTo>
                    <a:pt x="221" y="245"/>
                    <a:pt x="217" y="246"/>
                    <a:pt x="212" y="247"/>
                  </a:cubicBezTo>
                  <a:close/>
                  <a:moveTo>
                    <a:pt x="121" y="243"/>
                  </a:moveTo>
                  <a:cubicBezTo>
                    <a:pt x="116" y="242"/>
                    <a:pt x="112" y="240"/>
                    <a:pt x="107" y="238"/>
                  </a:cubicBezTo>
                  <a:cubicBezTo>
                    <a:pt x="110" y="233"/>
                    <a:pt x="110" y="233"/>
                    <a:pt x="110" y="233"/>
                  </a:cubicBezTo>
                  <a:cubicBezTo>
                    <a:pt x="114" y="234"/>
                    <a:pt x="118" y="236"/>
                    <a:pt x="123" y="237"/>
                  </a:cubicBezTo>
                  <a:lnTo>
                    <a:pt x="121" y="243"/>
                  </a:lnTo>
                  <a:close/>
                  <a:moveTo>
                    <a:pt x="233" y="241"/>
                  </a:moveTo>
                  <a:cubicBezTo>
                    <a:pt x="230" y="235"/>
                    <a:pt x="230" y="235"/>
                    <a:pt x="230" y="235"/>
                  </a:cubicBezTo>
                  <a:cubicBezTo>
                    <a:pt x="235" y="233"/>
                    <a:pt x="239" y="232"/>
                    <a:pt x="243" y="230"/>
                  </a:cubicBezTo>
                  <a:cubicBezTo>
                    <a:pt x="246" y="236"/>
                    <a:pt x="246" y="236"/>
                    <a:pt x="246" y="236"/>
                  </a:cubicBezTo>
                  <a:cubicBezTo>
                    <a:pt x="241" y="238"/>
                    <a:pt x="237" y="239"/>
                    <a:pt x="233" y="241"/>
                  </a:cubicBezTo>
                  <a:close/>
                  <a:moveTo>
                    <a:pt x="101" y="236"/>
                  </a:moveTo>
                  <a:cubicBezTo>
                    <a:pt x="96" y="234"/>
                    <a:pt x="92" y="231"/>
                    <a:pt x="88" y="229"/>
                  </a:cubicBezTo>
                  <a:cubicBezTo>
                    <a:pt x="91" y="224"/>
                    <a:pt x="91" y="224"/>
                    <a:pt x="91" y="224"/>
                  </a:cubicBezTo>
                  <a:cubicBezTo>
                    <a:pt x="95" y="226"/>
                    <a:pt x="99" y="228"/>
                    <a:pt x="103" y="230"/>
                  </a:cubicBezTo>
                  <a:lnTo>
                    <a:pt x="101" y="236"/>
                  </a:lnTo>
                  <a:close/>
                  <a:moveTo>
                    <a:pt x="252" y="232"/>
                  </a:moveTo>
                  <a:cubicBezTo>
                    <a:pt x="249" y="227"/>
                    <a:pt x="249" y="227"/>
                    <a:pt x="249" y="227"/>
                  </a:cubicBezTo>
                  <a:cubicBezTo>
                    <a:pt x="253" y="225"/>
                    <a:pt x="257" y="222"/>
                    <a:pt x="261" y="220"/>
                  </a:cubicBezTo>
                  <a:cubicBezTo>
                    <a:pt x="265" y="225"/>
                    <a:pt x="265" y="225"/>
                    <a:pt x="265" y="225"/>
                  </a:cubicBezTo>
                  <a:cubicBezTo>
                    <a:pt x="261" y="228"/>
                    <a:pt x="256" y="230"/>
                    <a:pt x="252" y="232"/>
                  </a:cubicBezTo>
                  <a:close/>
                  <a:moveTo>
                    <a:pt x="82" y="225"/>
                  </a:moveTo>
                  <a:cubicBezTo>
                    <a:pt x="81" y="225"/>
                    <a:pt x="81" y="225"/>
                    <a:pt x="81" y="225"/>
                  </a:cubicBezTo>
                  <a:cubicBezTo>
                    <a:pt x="77" y="223"/>
                    <a:pt x="74" y="220"/>
                    <a:pt x="70" y="217"/>
                  </a:cubicBezTo>
                  <a:cubicBezTo>
                    <a:pt x="74" y="212"/>
                    <a:pt x="74" y="212"/>
                    <a:pt x="74" y="212"/>
                  </a:cubicBezTo>
                  <a:cubicBezTo>
                    <a:pt x="77" y="215"/>
                    <a:pt x="81" y="217"/>
                    <a:pt x="85" y="220"/>
                  </a:cubicBezTo>
                  <a:cubicBezTo>
                    <a:pt x="85" y="220"/>
                    <a:pt x="85" y="220"/>
                    <a:pt x="85" y="220"/>
                  </a:cubicBezTo>
                  <a:lnTo>
                    <a:pt x="82" y="225"/>
                  </a:lnTo>
                  <a:close/>
                  <a:moveTo>
                    <a:pt x="271" y="222"/>
                  </a:moveTo>
                  <a:cubicBezTo>
                    <a:pt x="267" y="216"/>
                    <a:pt x="267" y="216"/>
                    <a:pt x="267" y="216"/>
                  </a:cubicBezTo>
                  <a:cubicBezTo>
                    <a:pt x="271" y="214"/>
                    <a:pt x="275" y="211"/>
                    <a:pt x="278" y="208"/>
                  </a:cubicBezTo>
                  <a:cubicBezTo>
                    <a:pt x="282" y="213"/>
                    <a:pt x="282" y="213"/>
                    <a:pt x="282" y="213"/>
                  </a:cubicBezTo>
                  <a:cubicBezTo>
                    <a:pt x="278" y="216"/>
                    <a:pt x="274" y="219"/>
                    <a:pt x="271" y="222"/>
                  </a:cubicBezTo>
                  <a:close/>
                  <a:moveTo>
                    <a:pt x="64" y="213"/>
                  </a:moveTo>
                  <a:cubicBezTo>
                    <a:pt x="61" y="210"/>
                    <a:pt x="57" y="207"/>
                    <a:pt x="54" y="204"/>
                  </a:cubicBezTo>
                  <a:cubicBezTo>
                    <a:pt x="58" y="199"/>
                    <a:pt x="58" y="199"/>
                    <a:pt x="58" y="199"/>
                  </a:cubicBezTo>
                  <a:cubicBezTo>
                    <a:pt x="61" y="202"/>
                    <a:pt x="65" y="205"/>
                    <a:pt x="68" y="208"/>
                  </a:cubicBezTo>
                  <a:lnTo>
                    <a:pt x="64" y="213"/>
                  </a:lnTo>
                  <a:close/>
                  <a:moveTo>
                    <a:pt x="287" y="209"/>
                  </a:moveTo>
                  <a:cubicBezTo>
                    <a:pt x="283" y="204"/>
                    <a:pt x="283" y="204"/>
                    <a:pt x="283" y="204"/>
                  </a:cubicBezTo>
                  <a:cubicBezTo>
                    <a:pt x="287" y="201"/>
                    <a:pt x="290" y="198"/>
                    <a:pt x="293" y="194"/>
                  </a:cubicBezTo>
                  <a:cubicBezTo>
                    <a:pt x="298" y="199"/>
                    <a:pt x="298" y="199"/>
                    <a:pt x="298" y="199"/>
                  </a:cubicBezTo>
                  <a:cubicBezTo>
                    <a:pt x="295" y="202"/>
                    <a:pt x="291" y="205"/>
                    <a:pt x="287" y="209"/>
                  </a:cubicBezTo>
                  <a:close/>
                  <a:moveTo>
                    <a:pt x="49" y="199"/>
                  </a:moveTo>
                  <a:cubicBezTo>
                    <a:pt x="45" y="195"/>
                    <a:pt x="42" y="192"/>
                    <a:pt x="39" y="188"/>
                  </a:cubicBezTo>
                  <a:cubicBezTo>
                    <a:pt x="44" y="184"/>
                    <a:pt x="44" y="184"/>
                    <a:pt x="44" y="184"/>
                  </a:cubicBezTo>
                  <a:cubicBezTo>
                    <a:pt x="47" y="188"/>
                    <a:pt x="50" y="191"/>
                    <a:pt x="53" y="194"/>
                  </a:cubicBezTo>
                  <a:lnTo>
                    <a:pt x="49" y="199"/>
                  </a:lnTo>
                  <a:close/>
                  <a:moveTo>
                    <a:pt x="303" y="193"/>
                  </a:moveTo>
                  <a:cubicBezTo>
                    <a:pt x="298" y="189"/>
                    <a:pt x="298" y="189"/>
                    <a:pt x="298" y="189"/>
                  </a:cubicBezTo>
                  <a:cubicBezTo>
                    <a:pt x="301" y="186"/>
                    <a:pt x="304" y="182"/>
                    <a:pt x="307" y="179"/>
                  </a:cubicBezTo>
                  <a:cubicBezTo>
                    <a:pt x="312" y="182"/>
                    <a:pt x="312" y="182"/>
                    <a:pt x="312" y="182"/>
                  </a:cubicBezTo>
                  <a:cubicBezTo>
                    <a:pt x="309" y="186"/>
                    <a:pt x="306" y="190"/>
                    <a:pt x="303" y="193"/>
                  </a:cubicBezTo>
                  <a:close/>
                  <a:moveTo>
                    <a:pt x="35" y="183"/>
                  </a:moveTo>
                  <a:cubicBezTo>
                    <a:pt x="32" y="179"/>
                    <a:pt x="29" y="175"/>
                    <a:pt x="27" y="171"/>
                  </a:cubicBezTo>
                  <a:cubicBezTo>
                    <a:pt x="32" y="167"/>
                    <a:pt x="32" y="167"/>
                    <a:pt x="32" y="167"/>
                  </a:cubicBezTo>
                  <a:cubicBezTo>
                    <a:pt x="34" y="171"/>
                    <a:pt x="37" y="175"/>
                    <a:pt x="40" y="179"/>
                  </a:cubicBezTo>
                  <a:lnTo>
                    <a:pt x="35" y="183"/>
                  </a:lnTo>
                  <a:close/>
                  <a:moveTo>
                    <a:pt x="316" y="177"/>
                  </a:moveTo>
                  <a:cubicBezTo>
                    <a:pt x="311" y="173"/>
                    <a:pt x="311" y="173"/>
                    <a:pt x="311" y="173"/>
                  </a:cubicBezTo>
                  <a:cubicBezTo>
                    <a:pt x="312" y="171"/>
                    <a:pt x="314" y="169"/>
                    <a:pt x="315" y="166"/>
                  </a:cubicBezTo>
                  <a:cubicBezTo>
                    <a:pt x="316" y="165"/>
                    <a:pt x="317" y="163"/>
                    <a:pt x="318" y="161"/>
                  </a:cubicBezTo>
                  <a:cubicBezTo>
                    <a:pt x="323" y="165"/>
                    <a:pt x="323" y="165"/>
                    <a:pt x="323" y="165"/>
                  </a:cubicBezTo>
                  <a:cubicBezTo>
                    <a:pt x="323" y="166"/>
                    <a:pt x="321" y="168"/>
                    <a:pt x="320" y="170"/>
                  </a:cubicBezTo>
                  <a:cubicBezTo>
                    <a:pt x="319" y="172"/>
                    <a:pt x="317" y="174"/>
                    <a:pt x="316" y="177"/>
                  </a:cubicBezTo>
                  <a:close/>
                  <a:moveTo>
                    <a:pt x="23" y="165"/>
                  </a:moveTo>
                  <a:cubicBezTo>
                    <a:pt x="20" y="161"/>
                    <a:pt x="18" y="156"/>
                    <a:pt x="16" y="152"/>
                  </a:cubicBezTo>
                  <a:cubicBezTo>
                    <a:pt x="22" y="149"/>
                    <a:pt x="22" y="149"/>
                    <a:pt x="22" y="149"/>
                  </a:cubicBezTo>
                  <a:cubicBezTo>
                    <a:pt x="24" y="154"/>
                    <a:pt x="26" y="158"/>
                    <a:pt x="28" y="162"/>
                  </a:cubicBezTo>
                  <a:lnTo>
                    <a:pt x="23" y="165"/>
                  </a:lnTo>
                  <a:close/>
                  <a:moveTo>
                    <a:pt x="327" y="158"/>
                  </a:moveTo>
                  <a:cubicBezTo>
                    <a:pt x="321" y="155"/>
                    <a:pt x="321" y="155"/>
                    <a:pt x="321" y="155"/>
                  </a:cubicBezTo>
                  <a:cubicBezTo>
                    <a:pt x="323" y="151"/>
                    <a:pt x="325" y="147"/>
                    <a:pt x="327" y="143"/>
                  </a:cubicBezTo>
                  <a:cubicBezTo>
                    <a:pt x="333" y="145"/>
                    <a:pt x="333" y="145"/>
                    <a:pt x="333" y="145"/>
                  </a:cubicBezTo>
                  <a:cubicBezTo>
                    <a:pt x="331" y="150"/>
                    <a:pt x="329" y="154"/>
                    <a:pt x="327" y="158"/>
                  </a:cubicBezTo>
                  <a:close/>
                  <a:moveTo>
                    <a:pt x="13" y="146"/>
                  </a:moveTo>
                  <a:cubicBezTo>
                    <a:pt x="11" y="141"/>
                    <a:pt x="10" y="137"/>
                    <a:pt x="8" y="132"/>
                  </a:cubicBezTo>
                  <a:cubicBezTo>
                    <a:pt x="14" y="130"/>
                    <a:pt x="14" y="130"/>
                    <a:pt x="14" y="130"/>
                  </a:cubicBezTo>
                  <a:cubicBezTo>
                    <a:pt x="16" y="135"/>
                    <a:pt x="17" y="139"/>
                    <a:pt x="19" y="143"/>
                  </a:cubicBezTo>
                  <a:lnTo>
                    <a:pt x="13" y="146"/>
                  </a:lnTo>
                  <a:close/>
                  <a:moveTo>
                    <a:pt x="335" y="139"/>
                  </a:moveTo>
                  <a:cubicBezTo>
                    <a:pt x="329" y="137"/>
                    <a:pt x="329" y="137"/>
                    <a:pt x="329" y="137"/>
                  </a:cubicBezTo>
                  <a:cubicBezTo>
                    <a:pt x="331" y="132"/>
                    <a:pt x="332" y="128"/>
                    <a:pt x="333" y="123"/>
                  </a:cubicBezTo>
                  <a:cubicBezTo>
                    <a:pt x="339" y="125"/>
                    <a:pt x="339" y="125"/>
                    <a:pt x="339" y="125"/>
                  </a:cubicBezTo>
                  <a:cubicBezTo>
                    <a:pt x="338" y="130"/>
                    <a:pt x="337" y="134"/>
                    <a:pt x="335" y="139"/>
                  </a:cubicBezTo>
                  <a:close/>
                  <a:moveTo>
                    <a:pt x="6" y="125"/>
                  </a:moveTo>
                  <a:cubicBezTo>
                    <a:pt x="5" y="121"/>
                    <a:pt x="4" y="116"/>
                    <a:pt x="3" y="112"/>
                  </a:cubicBezTo>
                  <a:cubicBezTo>
                    <a:pt x="9" y="110"/>
                    <a:pt x="9" y="110"/>
                    <a:pt x="9" y="110"/>
                  </a:cubicBezTo>
                  <a:cubicBezTo>
                    <a:pt x="10" y="115"/>
                    <a:pt x="11" y="119"/>
                    <a:pt x="12" y="124"/>
                  </a:cubicBezTo>
                  <a:lnTo>
                    <a:pt x="6" y="125"/>
                  </a:lnTo>
                  <a:close/>
                  <a:moveTo>
                    <a:pt x="341" y="118"/>
                  </a:moveTo>
                  <a:cubicBezTo>
                    <a:pt x="335" y="117"/>
                    <a:pt x="335" y="117"/>
                    <a:pt x="335" y="117"/>
                  </a:cubicBezTo>
                  <a:cubicBezTo>
                    <a:pt x="336" y="112"/>
                    <a:pt x="337" y="108"/>
                    <a:pt x="337" y="103"/>
                  </a:cubicBezTo>
                  <a:cubicBezTo>
                    <a:pt x="344" y="104"/>
                    <a:pt x="344" y="104"/>
                    <a:pt x="344" y="104"/>
                  </a:cubicBezTo>
                  <a:cubicBezTo>
                    <a:pt x="343" y="109"/>
                    <a:pt x="342" y="113"/>
                    <a:pt x="341" y="118"/>
                  </a:cubicBezTo>
                  <a:close/>
                  <a:moveTo>
                    <a:pt x="2" y="105"/>
                  </a:moveTo>
                  <a:cubicBezTo>
                    <a:pt x="1" y="100"/>
                    <a:pt x="0" y="95"/>
                    <a:pt x="0" y="90"/>
                  </a:cubicBezTo>
                  <a:cubicBezTo>
                    <a:pt x="6" y="90"/>
                    <a:pt x="6" y="90"/>
                    <a:pt x="6" y="90"/>
                  </a:cubicBezTo>
                  <a:cubicBezTo>
                    <a:pt x="7" y="95"/>
                    <a:pt x="7" y="99"/>
                    <a:pt x="8" y="104"/>
                  </a:cubicBezTo>
                  <a:lnTo>
                    <a:pt x="2" y="105"/>
                  </a:lnTo>
                  <a:close/>
                  <a:moveTo>
                    <a:pt x="344" y="97"/>
                  </a:moveTo>
                  <a:cubicBezTo>
                    <a:pt x="338" y="96"/>
                    <a:pt x="338" y="96"/>
                    <a:pt x="338" y="96"/>
                  </a:cubicBezTo>
                  <a:cubicBezTo>
                    <a:pt x="339" y="92"/>
                    <a:pt x="339" y="87"/>
                    <a:pt x="339" y="83"/>
                  </a:cubicBezTo>
                  <a:cubicBezTo>
                    <a:pt x="345" y="83"/>
                    <a:pt x="345" y="83"/>
                    <a:pt x="345" y="83"/>
                  </a:cubicBezTo>
                  <a:cubicBezTo>
                    <a:pt x="345" y="88"/>
                    <a:pt x="345" y="92"/>
                    <a:pt x="344" y="97"/>
                  </a:cubicBezTo>
                  <a:close/>
                  <a:moveTo>
                    <a:pt x="0" y="83"/>
                  </a:moveTo>
                  <a:cubicBezTo>
                    <a:pt x="0" y="81"/>
                    <a:pt x="0" y="80"/>
                    <a:pt x="0" y="78"/>
                  </a:cubicBezTo>
                  <a:cubicBezTo>
                    <a:pt x="0" y="75"/>
                    <a:pt x="0" y="72"/>
                    <a:pt x="0" y="69"/>
                  </a:cubicBezTo>
                  <a:cubicBezTo>
                    <a:pt x="6" y="69"/>
                    <a:pt x="6" y="69"/>
                    <a:pt x="6" y="69"/>
                  </a:cubicBezTo>
                  <a:cubicBezTo>
                    <a:pt x="6" y="72"/>
                    <a:pt x="6" y="75"/>
                    <a:pt x="6" y="78"/>
                  </a:cubicBezTo>
                  <a:cubicBezTo>
                    <a:pt x="6" y="80"/>
                    <a:pt x="6" y="81"/>
                    <a:pt x="6" y="83"/>
                  </a:cubicBezTo>
                  <a:lnTo>
                    <a:pt x="0" y="83"/>
                  </a:lnTo>
                  <a:close/>
                  <a:moveTo>
                    <a:pt x="339" y="76"/>
                  </a:moveTo>
                  <a:cubicBezTo>
                    <a:pt x="339" y="71"/>
                    <a:pt x="339" y="67"/>
                    <a:pt x="338" y="62"/>
                  </a:cubicBezTo>
                  <a:cubicBezTo>
                    <a:pt x="345" y="61"/>
                    <a:pt x="345" y="61"/>
                    <a:pt x="345" y="61"/>
                  </a:cubicBezTo>
                  <a:cubicBezTo>
                    <a:pt x="345" y="66"/>
                    <a:pt x="345" y="71"/>
                    <a:pt x="345" y="76"/>
                  </a:cubicBezTo>
                  <a:lnTo>
                    <a:pt x="339" y="76"/>
                  </a:lnTo>
                  <a:close/>
                  <a:moveTo>
                    <a:pt x="7" y="63"/>
                  </a:moveTo>
                  <a:cubicBezTo>
                    <a:pt x="0" y="62"/>
                    <a:pt x="0" y="62"/>
                    <a:pt x="0" y="62"/>
                  </a:cubicBezTo>
                  <a:cubicBezTo>
                    <a:pt x="1" y="57"/>
                    <a:pt x="1" y="52"/>
                    <a:pt x="2" y="48"/>
                  </a:cubicBezTo>
                  <a:cubicBezTo>
                    <a:pt x="8" y="49"/>
                    <a:pt x="8" y="49"/>
                    <a:pt x="8" y="49"/>
                  </a:cubicBezTo>
                  <a:cubicBezTo>
                    <a:pt x="8" y="53"/>
                    <a:pt x="7" y="58"/>
                    <a:pt x="7" y="63"/>
                  </a:cubicBezTo>
                  <a:close/>
                  <a:moveTo>
                    <a:pt x="338" y="55"/>
                  </a:moveTo>
                  <a:cubicBezTo>
                    <a:pt x="337" y="51"/>
                    <a:pt x="336" y="46"/>
                    <a:pt x="335" y="42"/>
                  </a:cubicBezTo>
                  <a:cubicBezTo>
                    <a:pt x="342" y="40"/>
                    <a:pt x="342" y="40"/>
                    <a:pt x="342" y="40"/>
                  </a:cubicBezTo>
                  <a:cubicBezTo>
                    <a:pt x="343" y="45"/>
                    <a:pt x="343" y="50"/>
                    <a:pt x="344" y="54"/>
                  </a:cubicBezTo>
                  <a:lnTo>
                    <a:pt x="338" y="55"/>
                  </a:lnTo>
                  <a:close/>
                  <a:moveTo>
                    <a:pt x="334" y="35"/>
                  </a:moveTo>
                  <a:cubicBezTo>
                    <a:pt x="333" y="30"/>
                    <a:pt x="332" y="26"/>
                    <a:pt x="330" y="22"/>
                  </a:cubicBezTo>
                  <a:cubicBezTo>
                    <a:pt x="336" y="20"/>
                    <a:pt x="336" y="20"/>
                    <a:pt x="336" y="20"/>
                  </a:cubicBezTo>
                  <a:cubicBezTo>
                    <a:pt x="338" y="24"/>
                    <a:pt x="339" y="29"/>
                    <a:pt x="340" y="33"/>
                  </a:cubicBezTo>
                  <a:lnTo>
                    <a:pt x="334" y="35"/>
                  </a:lnTo>
                  <a:close/>
                  <a:moveTo>
                    <a:pt x="328" y="15"/>
                  </a:moveTo>
                  <a:cubicBezTo>
                    <a:pt x="327" y="11"/>
                    <a:pt x="325" y="7"/>
                    <a:pt x="323" y="3"/>
                  </a:cubicBezTo>
                  <a:cubicBezTo>
                    <a:pt x="329" y="0"/>
                    <a:pt x="329" y="0"/>
                    <a:pt x="329" y="0"/>
                  </a:cubicBezTo>
                  <a:cubicBezTo>
                    <a:pt x="331" y="4"/>
                    <a:pt x="332" y="9"/>
                    <a:pt x="334" y="13"/>
                  </a:cubicBezTo>
                  <a:lnTo>
                    <a:pt x="328"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26" name="Wheel connector"/>
          <p:cNvGrpSpPr/>
          <p:nvPr userDrawn="1"/>
        </p:nvGrpSpPr>
        <p:grpSpPr>
          <a:xfrm>
            <a:off x="6517629" y="5246767"/>
            <a:ext cx="926655" cy="807173"/>
            <a:chOff x="1739901" y="3017084"/>
            <a:chExt cx="1122362" cy="977900"/>
          </a:xfrm>
        </p:grpSpPr>
        <p:sp>
          <p:nvSpPr>
            <p:cNvPr id="27" name="Freeform 14"/>
            <p:cNvSpPr>
              <a:spLocks/>
            </p:cNvSpPr>
            <p:nvPr userDrawn="1"/>
          </p:nvSpPr>
          <p:spPr bwMode="auto">
            <a:xfrm>
              <a:off x="1739901" y="3415546"/>
              <a:ext cx="925513" cy="579438"/>
            </a:xfrm>
            <a:custGeom>
              <a:avLst/>
              <a:gdLst>
                <a:gd name="T0" fmla="*/ 575 w 583"/>
                <a:gd name="T1" fmla="*/ 365 h 365"/>
                <a:gd name="T2" fmla="*/ 0 w 583"/>
                <a:gd name="T3" fmla="*/ 14 h 365"/>
                <a:gd name="T4" fmla="*/ 9 w 583"/>
                <a:gd name="T5" fmla="*/ 0 h 365"/>
                <a:gd name="T6" fmla="*/ 583 w 583"/>
                <a:gd name="T7" fmla="*/ 351 h 365"/>
                <a:gd name="T8" fmla="*/ 575 w 583"/>
                <a:gd name="T9" fmla="*/ 365 h 365"/>
              </a:gdLst>
              <a:ahLst/>
              <a:cxnLst>
                <a:cxn ang="0">
                  <a:pos x="T0" y="T1"/>
                </a:cxn>
                <a:cxn ang="0">
                  <a:pos x="T2" y="T3"/>
                </a:cxn>
                <a:cxn ang="0">
                  <a:pos x="T4" y="T5"/>
                </a:cxn>
                <a:cxn ang="0">
                  <a:pos x="T6" y="T7"/>
                </a:cxn>
                <a:cxn ang="0">
                  <a:pos x="T8" y="T9"/>
                </a:cxn>
              </a:cxnLst>
              <a:rect l="0" t="0" r="r" b="b"/>
              <a:pathLst>
                <a:path w="583" h="365">
                  <a:moveTo>
                    <a:pt x="575" y="365"/>
                  </a:moveTo>
                  <a:lnTo>
                    <a:pt x="0" y="14"/>
                  </a:lnTo>
                  <a:lnTo>
                    <a:pt x="9" y="0"/>
                  </a:lnTo>
                  <a:lnTo>
                    <a:pt x="583" y="351"/>
                  </a:lnTo>
                  <a:lnTo>
                    <a:pt x="575"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28" name="Freeform 15"/>
            <p:cNvSpPr>
              <a:spLocks/>
            </p:cNvSpPr>
            <p:nvPr userDrawn="1"/>
          </p:nvSpPr>
          <p:spPr bwMode="auto">
            <a:xfrm>
              <a:off x="2001838" y="3017084"/>
              <a:ext cx="860425" cy="681038"/>
            </a:xfrm>
            <a:custGeom>
              <a:avLst/>
              <a:gdLst>
                <a:gd name="T0" fmla="*/ 532 w 542"/>
                <a:gd name="T1" fmla="*/ 429 h 429"/>
                <a:gd name="T2" fmla="*/ 0 w 542"/>
                <a:gd name="T3" fmla="*/ 12 h 429"/>
                <a:gd name="T4" fmla="*/ 11 w 542"/>
                <a:gd name="T5" fmla="*/ 0 h 429"/>
                <a:gd name="T6" fmla="*/ 542 w 542"/>
                <a:gd name="T7" fmla="*/ 417 h 429"/>
                <a:gd name="T8" fmla="*/ 532 w 542"/>
                <a:gd name="T9" fmla="*/ 429 h 429"/>
              </a:gdLst>
              <a:ahLst/>
              <a:cxnLst>
                <a:cxn ang="0">
                  <a:pos x="T0" y="T1"/>
                </a:cxn>
                <a:cxn ang="0">
                  <a:pos x="T2" y="T3"/>
                </a:cxn>
                <a:cxn ang="0">
                  <a:pos x="T4" y="T5"/>
                </a:cxn>
                <a:cxn ang="0">
                  <a:pos x="T6" y="T7"/>
                </a:cxn>
                <a:cxn ang="0">
                  <a:pos x="T8" y="T9"/>
                </a:cxn>
              </a:cxnLst>
              <a:rect l="0" t="0" r="r" b="b"/>
              <a:pathLst>
                <a:path w="542" h="429">
                  <a:moveTo>
                    <a:pt x="532" y="429"/>
                  </a:moveTo>
                  <a:lnTo>
                    <a:pt x="0" y="12"/>
                  </a:lnTo>
                  <a:lnTo>
                    <a:pt x="11" y="0"/>
                  </a:lnTo>
                  <a:lnTo>
                    <a:pt x="542" y="417"/>
                  </a:lnTo>
                  <a:lnTo>
                    <a:pt x="532" y="4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29" name="Arrow around wheel 1"/>
          <p:cNvGrpSpPr/>
          <p:nvPr userDrawn="1"/>
        </p:nvGrpSpPr>
        <p:grpSpPr>
          <a:xfrm>
            <a:off x="6297434" y="5077732"/>
            <a:ext cx="517722" cy="638139"/>
            <a:chOff x="1473201" y="2812296"/>
            <a:chExt cx="627063" cy="773113"/>
          </a:xfrm>
        </p:grpSpPr>
        <p:sp>
          <p:nvSpPr>
            <p:cNvPr id="30" name="Freeform 16"/>
            <p:cNvSpPr>
              <a:spLocks noEditPoints="1"/>
            </p:cNvSpPr>
            <p:nvPr userDrawn="1"/>
          </p:nvSpPr>
          <p:spPr bwMode="auto">
            <a:xfrm>
              <a:off x="1978026" y="2812296"/>
              <a:ext cx="122238" cy="115888"/>
            </a:xfrm>
            <a:custGeom>
              <a:avLst/>
              <a:gdLst>
                <a:gd name="T0" fmla="*/ 0 w 77"/>
                <a:gd name="T1" fmla="*/ 73 h 73"/>
                <a:gd name="T2" fmla="*/ 31 w 77"/>
                <a:gd name="T3" fmla="*/ 0 h 73"/>
                <a:gd name="T4" fmla="*/ 77 w 77"/>
                <a:gd name="T5" fmla="*/ 64 h 73"/>
                <a:gd name="T6" fmla="*/ 0 w 77"/>
                <a:gd name="T7" fmla="*/ 73 h 73"/>
                <a:gd name="T8" fmla="*/ 33 w 77"/>
                <a:gd name="T9" fmla="*/ 19 h 73"/>
                <a:gd name="T10" fmla="*/ 15 w 77"/>
                <a:gd name="T11" fmla="*/ 62 h 73"/>
                <a:gd name="T12" fmla="*/ 60 w 77"/>
                <a:gd name="T13" fmla="*/ 57 h 73"/>
                <a:gd name="T14" fmla="*/ 33 w 77"/>
                <a:gd name="T15" fmla="*/ 19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3">
                  <a:moveTo>
                    <a:pt x="0" y="73"/>
                  </a:moveTo>
                  <a:lnTo>
                    <a:pt x="31" y="0"/>
                  </a:lnTo>
                  <a:lnTo>
                    <a:pt x="77" y="64"/>
                  </a:lnTo>
                  <a:lnTo>
                    <a:pt x="0" y="73"/>
                  </a:lnTo>
                  <a:close/>
                  <a:moveTo>
                    <a:pt x="33" y="19"/>
                  </a:moveTo>
                  <a:lnTo>
                    <a:pt x="15" y="62"/>
                  </a:lnTo>
                  <a:lnTo>
                    <a:pt x="60" y="57"/>
                  </a:lnTo>
                  <a:lnTo>
                    <a:pt x="3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1" name="Freeform 17"/>
            <p:cNvSpPr>
              <a:spLocks noEditPoints="1"/>
            </p:cNvSpPr>
            <p:nvPr userDrawn="1"/>
          </p:nvSpPr>
          <p:spPr bwMode="auto">
            <a:xfrm>
              <a:off x="1473201" y="2834521"/>
              <a:ext cx="509588" cy="750888"/>
            </a:xfrm>
            <a:custGeom>
              <a:avLst/>
              <a:gdLst>
                <a:gd name="T0" fmla="*/ 83 w 187"/>
                <a:gd name="T1" fmla="*/ 270 h 275"/>
                <a:gd name="T2" fmla="*/ 99 w 187"/>
                <a:gd name="T3" fmla="*/ 269 h 275"/>
                <a:gd name="T4" fmla="*/ 77 w 187"/>
                <a:gd name="T5" fmla="*/ 267 h 275"/>
                <a:gd name="T6" fmla="*/ 68 w 187"/>
                <a:gd name="T7" fmla="*/ 254 h 275"/>
                <a:gd name="T8" fmla="*/ 77 w 187"/>
                <a:gd name="T9" fmla="*/ 267 h 275"/>
                <a:gd name="T10" fmla="*/ 49 w 187"/>
                <a:gd name="T11" fmla="*/ 248 h 275"/>
                <a:gd name="T12" fmla="*/ 52 w 187"/>
                <a:gd name="T13" fmla="*/ 242 h 275"/>
                <a:gd name="T14" fmla="*/ 63 w 187"/>
                <a:gd name="T15" fmla="*/ 250 h 275"/>
                <a:gd name="T16" fmla="*/ 42 w 187"/>
                <a:gd name="T17" fmla="*/ 241 h 275"/>
                <a:gd name="T18" fmla="*/ 38 w 187"/>
                <a:gd name="T19" fmla="*/ 227 h 275"/>
                <a:gd name="T20" fmla="*/ 42 w 187"/>
                <a:gd name="T21" fmla="*/ 241 h 275"/>
                <a:gd name="T22" fmla="*/ 20 w 187"/>
                <a:gd name="T23" fmla="*/ 213 h 275"/>
                <a:gd name="T24" fmla="*/ 33 w 187"/>
                <a:gd name="T25" fmla="*/ 221 h 275"/>
                <a:gd name="T26" fmla="*/ 17 w 187"/>
                <a:gd name="T27" fmla="*/ 207 h 275"/>
                <a:gd name="T28" fmla="*/ 17 w 187"/>
                <a:gd name="T29" fmla="*/ 192 h 275"/>
                <a:gd name="T30" fmla="*/ 17 w 187"/>
                <a:gd name="T31" fmla="*/ 207 h 275"/>
                <a:gd name="T32" fmla="*/ 4 w 187"/>
                <a:gd name="T33" fmla="*/ 174 h 275"/>
                <a:gd name="T34" fmla="*/ 14 w 187"/>
                <a:gd name="T35" fmla="*/ 185 h 275"/>
                <a:gd name="T36" fmla="*/ 3 w 187"/>
                <a:gd name="T37" fmla="*/ 167 h 275"/>
                <a:gd name="T38" fmla="*/ 7 w 187"/>
                <a:gd name="T39" fmla="*/ 152 h 275"/>
                <a:gd name="T40" fmla="*/ 3 w 187"/>
                <a:gd name="T41" fmla="*/ 167 h 275"/>
                <a:gd name="T42" fmla="*/ 0 w 187"/>
                <a:gd name="T43" fmla="*/ 141 h 275"/>
                <a:gd name="T44" fmla="*/ 7 w 187"/>
                <a:gd name="T45" fmla="*/ 131 h 275"/>
                <a:gd name="T46" fmla="*/ 7 w 187"/>
                <a:gd name="T47" fmla="*/ 145 h 275"/>
                <a:gd name="T48" fmla="*/ 8 w 187"/>
                <a:gd name="T49" fmla="*/ 125 h 275"/>
                <a:gd name="T50" fmla="*/ 4 w 187"/>
                <a:gd name="T51" fmla="*/ 110 h 275"/>
                <a:gd name="T52" fmla="*/ 8 w 187"/>
                <a:gd name="T53" fmla="*/ 125 h 275"/>
                <a:gd name="T54" fmla="*/ 6 w 187"/>
                <a:gd name="T55" fmla="*/ 103 h 275"/>
                <a:gd name="T56" fmla="*/ 16 w 187"/>
                <a:gd name="T57" fmla="*/ 92 h 275"/>
                <a:gd name="T58" fmla="*/ 19 w 187"/>
                <a:gd name="T59" fmla="*/ 85 h 275"/>
                <a:gd name="T60" fmla="*/ 20 w 187"/>
                <a:gd name="T61" fmla="*/ 70 h 275"/>
                <a:gd name="T62" fmla="*/ 19 w 187"/>
                <a:gd name="T63" fmla="*/ 85 h 275"/>
                <a:gd name="T64" fmla="*/ 24 w 187"/>
                <a:gd name="T65" fmla="*/ 64 h 275"/>
                <a:gd name="T66" fmla="*/ 37 w 187"/>
                <a:gd name="T67" fmla="*/ 56 h 275"/>
                <a:gd name="T68" fmla="*/ 41 w 187"/>
                <a:gd name="T69" fmla="*/ 51 h 275"/>
                <a:gd name="T70" fmla="*/ 47 w 187"/>
                <a:gd name="T71" fmla="*/ 37 h 275"/>
                <a:gd name="T72" fmla="*/ 41 w 187"/>
                <a:gd name="T73" fmla="*/ 51 h 275"/>
                <a:gd name="T74" fmla="*/ 52 w 187"/>
                <a:gd name="T75" fmla="*/ 32 h 275"/>
                <a:gd name="T76" fmla="*/ 67 w 187"/>
                <a:gd name="T77" fmla="*/ 29 h 275"/>
                <a:gd name="T78" fmla="*/ 73 w 187"/>
                <a:gd name="T79" fmla="*/ 25 h 275"/>
                <a:gd name="T80" fmla="*/ 82 w 187"/>
                <a:gd name="T81" fmla="*/ 13 h 275"/>
                <a:gd name="T82" fmla="*/ 73 w 187"/>
                <a:gd name="T83" fmla="*/ 25 h 275"/>
                <a:gd name="T84" fmla="*/ 89 w 187"/>
                <a:gd name="T85" fmla="*/ 10 h 275"/>
                <a:gd name="T86" fmla="*/ 104 w 187"/>
                <a:gd name="T87" fmla="*/ 12 h 275"/>
                <a:gd name="T88" fmla="*/ 185 w 187"/>
                <a:gd name="T89" fmla="*/ 14 h 275"/>
                <a:gd name="T90" fmla="*/ 173 w 187"/>
                <a:gd name="T91" fmla="*/ 4 h 275"/>
                <a:gd name="T92" fmla="*/ 185 w 187"/>
                <a:gd name="T93" fmla="*/ 14 h 275"/>
                <a:gd name="T94" fmla="*/ 109 w 187"/>
                <a:gd name="T95" fmla="*/ 4 h 275"/>
                <a:gd name="T96" fmla="*/ 124 w 187"/>
                <a:gd name="T97" fmla="*/ 8 h 275"/>
                <a:gd name="T98" fmla="*/ 165 w 187"/>
                <a:gd name="T99" fmla="*/ 9 h 275"/>
                <a:gd name="T100" fmla="*/ 152 w 187"/>
                <a:gd name="T101" fmla="*/ 1 h 275"/>
                <a:gd name="T102" fmla="*/ 165 w 187"/>
                <a:gd name="T103" fmla="*/ 9 h 275"/>
                <a:gd name="T104" fmla="*/ 131 w 187"/>
                <a:gd name="T105" fmla="*/ 1 h 275"/>
                <a:gd name="T106" fmla="*/ 145 w 187"/>
                <a:gd name="T107" fmla="*/ 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 h="275">
                  <a:moveTo>
                    <a:pt x="97" y="275"/>
                  </a:moveTo>
                  <a:cubicBezTo>
                    <a:pt x="93" y="273"/>
                    <a:pt x="88" y="272"/>
                    <a:pt x="83" y="270"/>
                  </a:cubicBezTo>
                  <a:cubicBezTo>
                    <a:pt x="86" y="264"/>
                    <a:pt x="86" y="264"/>
                    <a:pt x="86" y="264"/>
                  </a:cubicBezTo>
                  <a:cubicBezTo>
                    <a:pt x="90" y="266"/>
                    <a:pt x="95" y="267"/>
                    <a:pt x="99" y="269"/>
                  </a:cubicBezTo>
                  <a:lnTo>
                    <a:pt x="97" y="275"/>
                  </a:lnTo>
                  <a:close/>
                  <a:moveTo>
                    <a:pt x="77" y="267"/>
                  </a:moveTo>
                  <a:cubicBezTo>
                    <a:pt x="73" y="264"/>
                    <a:pt x="69" y="262"/>
                    <a:pt x="65" y="259"/>
                  </a:cubicBezTo>
                  <a:cubicBezTo>
                    <a:pt x="68" y="254"/>
                    <a:pt x="68" y="254"/>
                    <a:pt x="68" y="254"/>
                  </a:cubicBezTo>
                  <a:cubicBezTo>
                    <a:pt x="72" y="257"/>
                    <a:pt x="76" y="259"/>
                    <a:pt x="80" y="261"/>
                  </a:cubicBezTo>
                  <a:lnTo>
                    <a:pt x="77" y="267"/>
                  </a:lnTo>
                  <a:close/>
                  <a:moveTo>
                    <a:pt x="59" y="255"/>
                  </a:moveTo>
                  <a:cubicBezTo>
                    <a:pt x="55" y="253"/>
                    <a:pt x="52" y="250"/>
                    <a:pt x="49" y="248"/>
                  </a:cubicBezTo>
                  <a:cubicBezTo>
                    <a:pt x="48" y="246"/>
                    <a:pt x="48" y="246"/>
                    <a:pt x="48" y="246"/>
                  </a:cubicBezTo>
                  <a:cubicBezTo>
                    <a:pt x="52" y="242"/>
                    <a:pt x="52" y="242"/>
                    <a:pt x="52" y="242"/>
                  </a:cubicBezTo>
                  <a:cubicBezTo>
                    <a:pt x="53" y="243"/>
                    <a:pt x="53" y="243"/>
                    <a:pt x="53" y="243"/>
                  </a:cubicBezTo>
                  <a:cubicBezTo>
                    <a:pt x="56" y="245"/>
                    <a:pt x="59" y="248"/>
                    <a:pt x="63" y="250"/>
                  </a:cubicBezTo>
                  <a:lnTo>
                    <a:pt x="59" y="255"/>
                  </a:lnTo>
                  <a:close/>
                  <a:moveTo>
                    <a:pt x="42" y="241"/>
                  </a:moveTo>
                  <a:cubicBezTo>
                    <a:pt x="39" y="238"/>
                    <a:pt x="36" y="234"/>
                    <a:pt x="33" y="231"/>
                  </a:cubicBezTo>
                  <a:cubicBezTo>
                    <a:pt x="38" y="227"/>
                    <a:pt x="38" y="227"/>
                    <a:pt x="38" y="227"/>
                  </a:cubicBezTo>
                  <a:cubicBezTo>
                    <a:pt x="41" y="230"/>
                    <a:pt x="44" y="234"/>
                    <a:pt x="47" y="237"/>
                  </a:cubicBezTo>
                  <a:lnTo>
                    <a:pt x="42" y="241"/>
                  </a:lnTo>
                  <a:close/>
                  <a:moveTo>
                    <a:pt x="28" y="225"/>
                  </a:moveTo>
                  <a:cubicBezTo>
                    <a:pt x="25" y="221"/>
                    <a:pt x="23" y="217"/>
                    <a:pt x="20" y="213"/>
                  </a:cubicBezTo>
                  <a:cubicBezTo>
                    <a:pt x="26" y="210"/>
                    <a:pt x="26" y="210"/>
                    <a:pt x="26" y="210"/>
                  </a:cubicBezTo>
                  <a:cubicBezTo>
                    <a:pt x="28" y="214"/>
                    <a:pt x="31" y="218"/>
                    <a:pt x="33" y="221"/>
                  </a:cubicBezTo>
                  <a:lnTo>
                    <a:pt x="28" y="225"/>
                  </a:lnTo>
                  <a:close/>
                  <a:moveTo>
                    <a:pt x="17" y="207"/>
                  </a:moveTo>
                  <a:cubicBezTo>
                    <a:pt x="15" y="203"/>
                    <a:pt x="13" y="198"/>
                    <a:pt x="11" y="194"/>
                  </a:cubicBezTo>
                  <a:cubicBezTo>
                    <a:pt x="17" y="192"/>
                    <a:pt x="17" y="192"/>
                    <a:pt x="17" y="192"/>
                  </a:cubicBezTo>
                  <a:cubicBezTo>
                    <a:pt x="18" y="196"/>
                    <a:pt x="20" y="200"/>
                    <a:pt x="22" y="204"/>
                  </a:cubicBezTo>
                  <a:lnTo>
                    <a:pt x="17" y="207"/>
                  </a:lnTo>
                  <a:close/>
                  <a:moveTo>
                    <a:pt x="8" y="187"/>
                  </a:moveTo>
                  <a:cubicBezTo>
                    <a:pt x="7" y="183"/>
                    <a:pt x="5" y="178"/>
                    <a:pt x="4" y="174"/>
                  </a:cubicBezTo>
                  <a:cubicBezTo>
                    <a:pt x="10" y="172"/>
                    <a:pt x="10" y="172"/>
                    <a:pt x="10" y="172"/>
                  </a:cubicBezTo>
                  <a:cubicBezTo>
                    <a:pt x="12" y="177"/>
                    <a:pt x="13" y="181"/>
                    <a:pt x="14" y="185"/>
                  </a:cubicBezTo>
                  <a:lnTo>
                    <a:pt x="8" y="187"/>
                  </a:lnTo>
                  <a:close/>
                  <a:moveTo>
                    <a:pt x="3" y="167"/>
                  </a:moveTo>
                  <a:cubicBezTo>
                    <a:pt x="2" y="162"/>
                    <a:pt x="1" y="157"/>
                    <a:pt x="1" y="152"/>
                  </a:cubicBezTo>
                  <a:cubicBezTo>
                    <a:pt x="7" y="152"/>
                    <a:pt x="7" y="152"/>
                    <a:pt x="7" y="152"/>
                  </a:cubicBezTo>
                  <a:cubicBezTo>
                    <a:pt x="8" y="156"/>
                    <a:pt x="8" y="161"/>
                    <a:pt x="9" y="165"/>
                  </a:cubicBezTo>
                  <a:lnTo>
                    <a:pt x="3" y="167"/>
                  </a:lnTo>
                  <a:close/>
                  <a:moveTo>
                    <a:pt x="1" y="145"/>
                  </a:moveTo>
                  <a:cubicBezTo>
                    <a:pt x="1" y="144"/>
                    <a:pt x="0" y="142"/>
                    <a:pt x="0" y="141"/>
                  </a:cubicBezTo>
                  <a:cubicBezTo>
                    <a:pt x="0" y="138"/>
                    <a:pt x="1" y="134"/>
                    <a:pt x="1" y="131"/>
                  </a:cubicBezTo>
                  <a:cubicBezTo>
                    <a:pt x="7" y="131"/>
                    <a:pt x="7" y="131"/>
                    <a:pt x="7" y="131"/>
                  </a:cubicBezTo>
                  <a:cubicBezTo>
                    <a:pt x="7" y="135"/>
                    <a:pt x="7" y="138"/>
                    <a:pt x="7" y="141"/>
                  </a:cubicBezTo>
                  <a:cubicBezTo>
                    <a:pt x="7" y="142"/>
                    <a:pt x="7" y="144"/>
                    <a:pt x="7" y="145"/>
                  </a:cubicBezTo>
                  <a:lnTo>
                    <a:pt x="1" y="145"/>
                  </a:lnTo>
                  <a:close/>
                  <a:moveTo>
                    <a:pt x="8" y="125"/>
                  </a:moveTo>
                  <a:cubicBezTo>
                    <a:pt x="2" y="124"/>
                    <a:pt x="2" y="124"/>
                    <a:pt x="2" y="124"/>
                  </a:cubicBezTo>
                  <a:cubicBezTo>
                    <a:pt x="2" y="119"/>
                    <a:pt x="3" y="114"/>
                    <a:pt x="4" y="110"/>
                  </a:cubicBezTo>
                  <a:cubicBezTo>
                    <a:pt x="10" y="111"/>
                    <a:pt x="10" y="111"/>
                    <a:pt x="10" y="111"/>
                  </a:cubicBezTo>
                  <a:cubicBezTo>
                    <a:pt x="9" y="116"/>
                    <a:pt x="8" y="120"/>
                    <a:pt x="8" y="125"/>
                  </a:cubicBezTo>
                  <a:close/>
                  <a:moveTo>
                    <a:pt x="12" y="105"/>
                  </a:moveTo>
                  <a:cubicBezTo>
                    <a:pt x="6" y="103"/>
                    <a:pt x="6" y="103"/>
                    <a:pt x="6" y="103"/>
                  </a:cubicBezTo>
                  <a:cubicBezTo>
                    <a:pt x="7" y="98"/>
                    <a:pt x="9" y="94"/>
                    <a:pt x="10" y="89"/>
                  </a:cubicBezTo>
                  <a:cubicBezTo>
                    <a:pt x="16" y="92"/>
                    <a:pt x="16" y="92"/>
                    <a:pt x="16" y="92"/>
                  </a:cubicBezTo>
                  <a:cubicBezTo>
                    <a:pt x="15" y="96"/>
                    <a:pt x="13" y="100"/>
                    <a:pt x="12" y="105"/>
                  </a:cubicBezTo>
                  <a:close/>
                  <a:moveTo>
                    <a:pt x="19" y="85"/>
                  </a:moveTo>
                  <a:cubicBezTo>
                    <a:pt x="13" y="83"/>
                    <a:pt x="13" y="83"/>
                    <a:pt x="13" y="83"/>
                  </a:cubicBezTo>
                  <a:cubicBezTo>
                    <a:pt x="15" y="78"/>
                    <a:pt x="17" y="74"/>
                    <a:pt x="20" y="70"/>
                  </a:cubicBezTo>
                  <a:cubicBezTo>
                    <a:pt x="25" y="73"/>
                    <a:pt x="25" y="73"/>
                    <a:pt x="25" y="73"/>
                  </a:cubicBezTo>
                  <a:cubicBezTo>
                    <a:pt x="23" y="77"/>
                    <a:pt x="21" y="81"/>
                    <a:pt x="19" y="85"/>
                  </a:cubicBezTo>
                  <a:close/>
                  <a:moveTo>
                    <a:pt x="29" y="67"/>
                  </a:moveTo>
                  <a:cubicBezTo>
                    <a:pt x="24" y="64"/>
                    <a:pt x="24" y="64"/>
                    <a:pt x="24" y="64"/>
                  </a:cubicBezTo>
                  <a:cubicBezTo>
                    <a:pt x="26" y="60"/>
                    <a:pt x="29" y="56"/>
                    <a:pt x="32" y="52"/>
                  </a:cubicBezTo>
                  <a:cubicBezTo>
                    <a:pt x="37" y="56"/>
                    <a:pt x="37" y="56"/>
                    <a:pt x="37" y="56"/>
                  </a:cubicBezTo>
                  <a:cubicBezTo>
                    <a:pt x="34" y="60"/>
                    <a:pt x="31" y="64"/>
                    <a:pt x="29" y="67"/>
                  </a:cubicBezTo>
                  <a:close/>
                  <a:moveTo>
                    <a:pt x="41" y="51"/>
                  </a:moveTo>
                  <a:cubicBezTo>
                    <a:pt x="37" y="47"/>
                    <a:pt x="37" y="47"/>
                    <a:pt x="37" y="47"/>
                  </a:cubicBezTo>
                  <a:cubicBezTo>
                    <a:pt x="40" y="43"/>
                    <a:pt x="43" y="40"/>
                    <a:pt x="47" y="37"/>
                  </a:cubicBezTo>
                  <a:cubicBezTo>
                    <a:pt x="51" y="41"/>
                    <a:pt x="51" y="41"/>
                    <a:pt x="51" y="41"/>
                  </a:cubicBezTo>
                  <a:cubicBezTo>
                    <a:pt x="48" y="44"/>
                    <a:pt x="44" y="48"/>
                    <a:pt x="41" y="51"/>
                  </a:cubicBezTo>
                  <a:close/>
                  <a:moveTo>
                    <a:pt x="56" y="37"/>
                  </a:moveTo>
                  <a:cubicBezTo>
                    <a:pt x="52" y="32"/>
                    <a:pt x="52" y="32"/>
                    <a:pt x="52" y="32"/>
                  </a:cubicBezTo>
                  <a:cubicBezTo>
                    <a:pt x="56" y="29"/>
                    <a:pt x="60" y="26"/>
                    <a:pt x="64" y="24"/>
                  </a:cubicBezTo>
                  <a:cubicBezTo>
                    <a:pt x="67" y="29"/>
                    <a:pt x="67" y="29"/>
                    <a:pt x="67" y="29"/>
                  </a:cubicBezTo>
                  <a:cubicBezTo>
                    <a:pt x="63" y="31"/>
                    <a:pt x="60" y="34"/>
                    <a:pt x="56" y="37"/>
                  </a:cubicBezTo>
                  <a:close/>
                  <a:moveTo>
                    <a:pt x="73" y="25"/>
                  </a:moveTo>
                  <a:cubicBezTo>
                    <a:pt x="70" y="20"/>
                    <a:pt x="70" y="20"/>
                    <a:pt x="70" y="20"/>
                  </a:cubicBezTo>
                  <a:cubicBezTo>
                    <a:pt x="74" y="17"/>
                    <a:pt x="78" y="15"/>
                    <a:pt x="82" y="13"/>
                  </a:cubicBezTo>
                  <a:cubicBezTo>
                    <a:pt x="85" y="19"/>
                    <a:pt x="85" y="19"/>
                    <a:pt x="85" y="19"/>
                  </a:cubicBezTo>
                  <a:cubicBezTo>
                    <a:pt x="81" y="21"/>
                    <a:pt x="77" y="23"/>
                    <a:pt x="73" y="25"/>
                  </a:cubicBezTo>
                  <a:close/>
                  <a:moveTo>
                    <a:pt x="91" y="16"/>
                  </a:moveTo>
                  <a:cubicBezTo>
                    <a:pt x="89" y="10"/>
                    <a:pt x="89" y="10"/>
                    <a:pt x="89" y="10"/>
                  </a:cubicBezTo>
                  <a:cubicBezTo>
                    <a:pt x="93" y="9"/>
                    <a:pt x="98" y="7"/>
                    <a:pt x="103" y="6"/>
                  </a:cubicBezTo>
                  <a:cubicBezTo>
                    <a:pt x="104" y="12"/>
                    <a:pt x="104" y="12"/>
                    <a:pt x="104" y="12"/>
                  </a:cubicBezTo>
                  <a:cubicBezTo>
                    <a:pt x="100" y="13"/>
                    <a:pt x="96" y="14"/>
                    <a:pt x="91" y="16"/>
                  </a:cubicBezTo>
                  <a:close/>
                  <a:moveTo>
                    <a:pt x="185" y="14"/>
                  </a:moveTo>
                  <a:cubicBezTo>
                    <a:pt x="181" y="12"/>
                    <a:pt x="176" y="11"/>
                    <a:pt x="172" y="10"/>
                  </a:cubicBezTo>
                  <a:cubicBezTo>
                    <a:pt x="173" y="4"/>
                    <a:pt x="173" y="4"/>
                    <a:pt x="173" y="4"/>
                  </a:cubicBezTo>
                  <a:cubicBezTo>
                    <a:pt x="178" y="5"/>
                    <a:pt x="183" y="6"/>
                    <a:pt x="187" y="8"/>
                  </a:cubicBezTo>
                  <a:lnTo>
                    <a:pt x="185" y="14"/>
                  </a:lnTo>
                  <a:close/>
                  <a:moveTo>
                    <a:pt x="111" y="10"/>
                  </a:moveTo>
                  <a:cubicBezTo>
                    <a:pt x="109" y="4"/>
                    <a:pt x="109" y="4"/>
                    <a:pt x="109" y="4"/>
                  </a:cubicBezTo>
                  <a:cubicBezTo>
                    <a:pt x="114" y="3"/>
                    <a:pt x="119" y="2"/>
                    <a:pt x="124" y="1"/>
                  </a:cubicBezTo>
                  <a:cubicBezTo>
                    <a:pt x="124" y="8"/>
                    <a:pt x="124" y="8"/>
                    <a:pt x="124" y="8"/>
                  </a:cubicBezTo>
                  <a:cubicBezTo>
                    <a:pt x="120" y="8"/>
                    <a:pt x="115" y="9"/>
                    <a:pt x="111" y="10"/>
                  </a:cubicBezTo>
                  <a:close/>
                  <a:moveTo>
                    <a:pt x="165" y="9"/>
                  </a:moveTo>
                  <a:cubicBezTo>
                    <a:pt x="161" y="8"/>
                    <a:pt x="156" y="7"/>
                    <a:pt x="152" y="7"/>
                  </a:cubicBezTo>
                  <a:cubicBezTo>
                    <a:pt x="152" y="1"/>
                    <a:pt x="152" y="1"/>
                    <a:pt x="152" y="1"/>
                  </a:cubicBezTo>
                  <a:cubicBezTo>
                    <a:pt x="157" y="1"/>
                    <a:pt x="162" y="2"/>
                    <a:pt x="166" y="2"/>
                  </a:cubicBezTo>
                  <a:lnTo>
                    <a:pt x="165" y="9"/>
                  </a:lnTo>
                  <a:close/>
                  <a:moveTo>
                    <a:pt x="131" y="7"/>
                  </a:moveTo>
                  <a:cubicBezTo>
                    <a:pt x="131" y="1"/>
                    <a:pt x="131" y="1"/>
                    <a:pt x="131" y="1"/>
                  </a:cubicBezTo>
                  <a:cubicBezTo>
                    <a:pt x="135" y="0"/>
                    <a:pt x="140" y="0"/>
                    <a:pt x="145" y="0"/>
                  </a:cubicBezTo>
                  <a:cubicBezTo>
                    <a:pt x="145" y="7"/>
                    <a:pt x="145" y="7"/>
                    <a:pt x="145" y="7"/>
                  </a:cubicBezTo>
                  <a:cubicBezTo>
                    <a:pt x="140" y="6"/>
                    <a:pt x="136" y="7"/>
                    <a:pt x="13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32" name="Big Wheel 1"/>
          <p:cNvGrpSpPr/>
          <p:nvPr userDrawn="1"/>
        </p:nvGrpSpPr>
        <p:grpSpPr>
          <a:xfrm>
            <a:off x="6380008" y="5198284"/>
            <a:ext cx="450876" cy="418001"/>
            <a:chOff x="1573213" y="2958346"/>
            <a:chExt cx="546100" cy="506413"/>
          </a:xfrm>
          <a:solidFill>
            <a:schemeClr val="accent4"/>
          </a:solidFill>
        </p:grpSpPr>
        <p:sp>
          <p:nvSpPr>
            <p:cNvPr id="33" name="Freeform 18"/>
            <p:cNvSpPr>
              <a:spLocks noEditPoints="1"/>
            </p:cNvSpPr>
            <p:nvPr userDrawn="1"/>
          </p:nvSpPr>
          <p:spPr bwMode="auto">
            <a:xfrm>
              <a:off x="1573213" y="2958346"/>
              <a:ext cx="546100" cy="506413"/>
            </a:xfrm>
            <a:custGeom>
              <a:avLst/>
              <a:gdLst>
                <a:gd name="T0" fmla="*/ 104 w 200"/>
                <a:gd name="T1" fmla="*/ 186 h 186"/>
                <a:gd name="T2" fmla="*/ 104 w 200"/>
                <a:gd name="T3" fmla="*/ 186 h 186"/>
                <a:gd name="T4" fmla="*/ 14 w 200"/>
                <a:gd name="T5" fmla="*/ 118 h 186"/>
                <a:gd name="T6" fmla="*/ 79 w 200"/>
                <a:gd name="T7" fmla="*/ 4 h 186"/>
                <a:gd name="T8" fmla="*/ 104 w 200"/>
                <a:gd name="T9" fmla="*/ 0 h 186"/>
                <a:gd name="T10" fmla="*/ 193 w 200"/>
                <a:gd name="T11" fmla="*/ 68 h 186"/>
                <a:gd name="T12" fmla="*/ 185 w 200"/>
                <a:gd name="T13" fmla="*/ 139 h 186"/>
                <a:gd name="T14" fmla="*/ 129 w 200"/>
                <a:gd name="T15" fmla="*/ 183 h 186"/>
                <a:gd name="T16" fmla="*/ 104 w 200"/>
                <a:gd name="T17" fmla="*/ 186 h 186"/>
                <a:gd name="T18" fmla="*/ 104 w 200"/>
                <a:gd name="T19" fmla="*/ 9 h 186"/>
                <a:gd name="T20" fmla="*/ 81 w 200"/>
                <a:gd name="T21" fmla="*/ 12 h 186"/>
                <a:gd name="T22" fmla="*/ 23 w 200"/>
                <a:gd name="T23" fmla="*/ 116 h 186"/>
                <a:gd name="T24" fmla="*/ 104 w 200"/>
                <a:gd name="T25" fmla="*/ 177 h 186"/>
                <a:gd name="T26" fmla="*/ 104 w 200"/>
                <a:gd name="T27" fmla="*/ 177 h 186"/>
                <a:gd name="T28" fmla="*/ 127 w 200"/>
                <a:gd name="T29" fmla="*/ 174 h 186"/>
                <a:gd name="T30" fmla="*/ 177 w 200"/>
                <a:gd name="T31" fmla="*/ 134 h 186"/>
                <a:gd name="T32" fmla="*/ 185 w 200"/>
                <a:gd name="T33" fmla="*/ 71 h 186"/>
                <a:gd name="T34" fmla="*/ 104 w 200"/>
                <a:gd name="T35" fmla="*/ 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86">
                  <a:moveTo>
                    <a:pt x="104" y="186"/>
                  </a:moveTo>
                  <a:cubicBezTo>
                    <a:pt x="104" y="186"/>
                    <a:pt x="104" y="186"/>
                    <a:pt x="104" y="186"/>
                  </a:cubicBezTo>
                  <a:cubicBezTo>
                    <a:pt x="62" y="186"/>
                    <a:pt x="26" y="158"/>
                    <a:pt x="14" y="118"/>
                  </a:cubicBezTo>
                  <a:cubicBezTo>
                    <a:pt x="0" y="69"/>
                    <a:pt x="29" y="18"/>
                    <a:pt x="79" y="4"/>
                  </a:cubicBezTo>
                  <a:cubicBezTo>
                    <a:pt x="87" y="1"/>
                    <a:pt x="95" y="0"/>
                    <a:pt x="104" y="0"/>
                  </a:cubicBezTo>
                  <a:cubicBezTo>
                    <a:pt x="145" y="0"/>
                    <a:pt x="182" y="28"/>
                    <a:pt x="193" y="68"/>
                  </a:cubicBezTo>
                  <a:cubicBezTo>
                    <a:pt x="200" y="92"/>
                    <a:pt x="197" y="117"/>
                    <a:pt x="185" y="139"/>
                  </a:cubicBezTo>
                  <a:cubicBezTo>
                    <a:pt x="173" y="160"/>
                    <a:pt x="153" y="176"/>
                    <a:pt x="129" y="183"/>
                  </a:cubicBezTo>
                  <a:cubicBezTo>
                    <a:pt x="121" y="185"/>
                    <a:pt x="112" y="186"/>
                    <a:pt x="104" y="186"/>
                  </a:cubicBezTo>
                  <a:close/>
                  <a:moveTo>
                    <a:pt x="104" y="9"/>
                  </a:moveTo>
                  <a:cubicBezTo>
                    <a:pt x="96" y="9"/>
                    <a:pt x="88" y="10"/>
                    <a:pt x="81" y="12"/>
                  </a:cubicBezTo>
                  <a:cubicBezTo>
                    <a:pt x="36" y="25"/>
                    <a:pt x="10" y="71"/>
                    <a:pt x="23" y="116"/>
                  </a:cubicBezTo>
                  <a:cubicBezTo>
                    <a:pt x="33" y="152"/>
                    <a:pt x="66" y="177"/>
                    <a:pt x="104" y="177"/>
                  </a:cubicBezTo>
                  <a:cubicBezTo>
                    <a:pt x="104" y="177"/>
                    <a:pt x="104" y="177"/>
                    <a:pt x="104" y="177"/>
                  </a:cubicBezTo>
                  <a:cubicBezTo>
                    <a:pt x="111" y="177"/>
                    <a:pt x="119" y="176"/>
                    <a:pt x="127" y="174"/>
                  </a:cubicBezTo>
                  <a:cubicBezTo>
                    <a:pt x="148" y="168"/>
                    <a:pt x="166" y="154"/>
                    <a:pt x="177" y="134"/>
                  </a:cubicBezTo>
                  <a:cubicBezTo>
                    <a:pt x="188" y="115"/>
                    <a:pt x="191" y="92"/>
                    <a:pt x="185" y="71"/>
                  </a:cubicBezTo>
                  <a:cubicBezTo>
                    <a:pt x="174" y="34"/>
                    <a:pt x="141" y="9"/>
                    <a:pt x="10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34" name="Pin wheel 1"/>
            <p:cNvGrpSpPr/>
            <p:nvPr userDrawn="1"/>
          </p:nvGrpSpPr>
          <p:grpSpPr>
            <a:xfrm>
              <a:off x="1697038" y="3050421"/>
              <a:ext cx="322263" cy="325438"/>
              <a:chOff x="1697038" y="3050421"/>
              <a:chExt cx="322263" cy="325438"/>
            </a:xfrm>
            <a:grpFill/>
          </p:grpSpPr>
          <p:sp>
            <p:nvSpPr>
              <p:cNvPr id="35" name="Freeform 19"/>
              <p:cNvSpPr>
                <a:spLocks noEditPoints="1"/>
              </p:cNvSpPr>
              <p:nvPr userDrawn="1"/>
            </p:nvSpPr>
            <p:spPr bwMode="auto">
              <a:xfrm>
                <a:off x="1795463" y="3152021"/>
                <a:ext cx="122238" cy="122238"/>
              </a:xfrm>
              <a:custGeom>
                <a:avLst/>
                <a:gdLst>
                  <a:gd name="T0" fmla="*/ 23 w 45"/>
                  <a:gd name="T1" fmla="*/ 45 h 45"/>
                  <a:gd name="T2" fmla="*/ 0 w 45"/>
                  <a:gd name="T3" fmla="*/ 22 h 45"/>
                  <a:gd name="T4" fmla="*/ 7 w 45"/>
                  <a:gd name="T5" fmla="*/ 6 h 45"/>
                  <a:gd name="T6" fmla="*/ 23 w 45"/>
                  <a:gd name="T7" fmla="*/ 0 h 45"/>
                  <a:gd name="T8" fmla="*/ 45 w 45"/>
                  <a:gd name="T9" fmla="*/ 22 h 45"/>
                  <a:gd name="T10" fmla="*/ 23 w 45"/>
                  <a:gd name="T11" fmla="*/ 45 h 45"/>
                  <a:gd name="T12" fmla="*/ 23 w 45"/>
                  <a:gd name="T13" fmla="*/ 6 h 45"/>
                  <a:gd name="T14" fmla="*/ 11 w 45"/>
                  <a:gd name="T15" fmla="*/ 11 h 45"/>
                  <a:gd name="T16" fmla="*/ 7 w 45"/>
                  <a:gd name="T17" fmla="*/ 22 h 45"/>
                  <a:gd name="T18" fmla="*/ 23 w 45"/>
                  <a:gd name="T19" fmla="*/ 38 h 45"/>
                  <a:gd name="T20" fmla="*/ 23 w 45"/>
                  <a:gd name="T21" fmla="*/ 41 h 45"/>
                  <a:gd name="T22" fmla="*/ 23 w 45"/>
                  <a:gd name="T23" fmla="*/ 38 h 45"/>
                  <a:gd name="T24" fmla="*/ 39 w 45"/>
                  <a:gd name="T25" fmla="*/ 22 h 45"/>
                  <a:gd name="T26" fmla="*/ 23 w 45"/>
                  <a:gd name="T27"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45">
                    <a:moveTo>
                      <a:pt x="23" y="45"/>
                    </a:moveTo>
                    <a:cubicBezTo>
                      <a:pt x="10" y="45"/>
                      <a:pt x="0" y="35"/>
                      <a:pt x="0" y="22"/>
                    </a:cubicBezTo>
                    <a:cubicBezTo>
                      <a:pt x="0" y="16"/>
                      <a:pt x="3" y="11"/>
                      <a:pt x="7" y="6"/>
                    </a:cubicBezTo>
                    <a:cubicBezTo>
                      <a:pt x="11" y="2"/>
                      <a:pt x="17" y="0"/>
                      <a:pt x="23" y="0"/>
                    </a:cubicBezTo>
                    <a:cubicBezTo>
                      <a:pt x="35" y="0"/>
                      <a:pt x="45" y="10"/>
                      <a:pt x="45" y="22"/>
                    </a:cubicBezTo>
                    <a:cubicBezTo>
                      <a:pt x="45" y="35"/>
                      <a:pt x="35" y="45"/>
                      <a:pt x="23" y="45"/>
                    </a:cubicBezTo>
                    <a:close/>
                    <a:moveTo>
                      <a:pt x="23" y="6"/>
                    </a:moveTo>
                    <a:cubicBezTo>
                      <a:pt x="18" y="6"/>
                      <a:pt x="14" y="8"/>
                      <a:pt x="11" y="11"/>
                    </a:cubicBezTo>
                    <a:cubicBezTo>
                      <a:pt x="8" y="14"/>
                      <a:pt x="7" y="18"/>
                      <a:pt x="7" y="22"/>
                    </a:cubicBezTo>
                    <a:cubicBezTo>
                      <a:pt x="7" y="31"/>
                      <a:pt x="14" y="38"/>
                      <a:pt x="23" y="38"/>
                    </a:cubicBezTo>
                    <a:cubicBezTo>
                      <a:pt x="23" y="41"/>
                      <a:pt x="23" y="41"/>
                      <a:pt x="23" y="41"/>
                    </a:cubicBezTo>
                    <a:cubicBezTo>
                      <a:pt x="23" y="38"/>
                      <a:pt x="23" y="38"/>
                      <a:pt x="23" y="38"/>
                    </a:cubicBezTo>
                    <a:cubicBezTo>
                      <a:pt x="32" y="38"/>
                      <a:pt x="39" y="31"/>
                      <a:pt x="39" y="22"/>
                    </a:cubicBezTo>
                    <a:cubicBezTo>
                      <a:pt x="39" y="13"/>
                      <a:pt x="32" y="6"/>
                      <a:pt x="2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6" name="Rectangle 20"/>
              <p:cNvSpPr>
                <a:spLocks noChangeArrowheads="1"/>
              </p:cNvSpPr>
              <p:nvPr userDrawn="1"/>
            </p:nvSpPr>
            <p:spPr bwMode="auto">
              <a:xfrm>
                <a:off x="1697038" y="3202821"/>
                <a:ext cx="730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7" name="Rectangle 21"/>
              <p:cNvSpPr>
                <a:spLocks noChangeArrowheads="1"/>
              </p:cNvSpPr>
              <p:nvPr userDrawn="1"/>
            </p:nvSpPr>
            <p:spPr bwMode="auto">
              <a:xfrm>
                <a:off x="1944688" y="3202821"/>
                <a:ext cx="7461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8" name="Rectangle 22"/>
              <p:cNvSpPr>
                <a:spLocks noChangeArrowheads="1"/>
              </p:cNvSpPr>
              <p:nvPr userDrawn="1"/>
            </p:nvSpPr>
            <p:spPr bwMode="auto">
              <a:xfrm>
                <a:off x="1849438" y="3299659"/>
                <a:ext cx="15875"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39" name="Rectangle 23"/>
              <p:cNvSpPr>
                <a:spLocks noChangeArrowheads="1"/>
              </p:cNvSpPr>
              <p:nvPr userDrawn="1"/>
            </p:nvSpPr>
            <p:spPr bwMode="auto">
              <a:xfrm>
                <a:off x="1849438" y="3050421"/>
                <a:ext cx="15875"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0" name="Freeform 24"/>
              <p:cNvSpPr>
                <a:spLocks/>
              </p:cNvSpPr>
              <p:nvPr userDrawn="1"/>
            </p:nvSpPr>
            <p:spPr bwMode="auto">
              <a:xfrm>
                <a:off x="1912938" y="3269496"/>
                <a:ext cx="53975" cy="50800"/>
              </a:xfrm>
              <a:custGeom>
                <a:avLst/>
                <a:gdLst>
                  <a:gd name="T0" fmla="*/ 25 w 34"/>
                  <a:gd name="T1" fmla="*/ 32 h 32"/>
                  <a:gd name="T2" fmla="*/ 0 w 34"/>
                  <a:gd name="T3" fmla="*/ 6 h 32"/>
                  <a:gd name="T4" fmla="*/ 8 w 34"/>
                  <a:gd name="T5" fmla="*/ 0 h 32"/>
                  <a:gd name="T6" fmla="*/ 34 w 34"/>
                  <a:gd name="T7" fmla="*/ 25 h 32"/>
                  <a:gd name="T8" fmla="*/ 25 w 34"/>
                  <a:gd name="T9" fmla="*/ 32 h 32"/>
                </a:gdLst>
                <a:ahLst/>
                <a:cxnLst>
                  <a:cxn ang="0">
                    <a:pos x="T0" y="T1"/>
                  </a:cxn>
                  <a:cxn ang="0">
                    <a:pos x="T2" y="T3"/>
                  </a:cxn>
                  <a:cxn ang="0">
                    <a:pos x="T4" y="T5"/>
                  </a:cxn>
                  <a:cxn ang="0">
                    <a:pos x="T6" y="T7"/>
                  </a:cxn>
                  <a:cxn ang="0">
                    <a:pos x="T8" y="T9"/>
                  </a:cxn>
                </a:cxnLst>
                <a:rect l="0" t="0" r="r" b="b"/>
                <a:pathLst>
                  <a:path w="34" h="32">
                    <a:moveTo>
                      <a:pt x="25" y="32"/>
                    </a:moveTo>
                    <a:lnTo>
                      <a:pt x="0" y="6"/>
                    </a:lnTo>
                    <a:lnTo>
                      <a:pt x="8" y="0"/>
                    </a:lnTo>
                    <a:lnTo>
                      <a:pt x="34" y="25"/>
                    </a:lnTo>
                    <a:lnTo>
                      <a:pt x="25"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1" name="Freeform 25"/>
              <p:cNvSpPr>
                <a:spLocks/>
              </p:cNvSpPr>
              <p:nvPr userDrawn="1"/>
            </p:nvSpPr>
            <p:spPr bwMode="auto">
              <a:xfrm>
                <a:off x="1747838" y="3102809"/>
                <a:ext cx="52388" cy="53975"/>
              </a:xfrm>
              <a:custGeom>
                <a:avLst/>
                <a:gdLst>
                  <a:gd name="T0" fmla="*/ 26 w 33"/>
                  <a:gd name="T1" fmla="*/ 34 h 34"/>
                  <a:gd name="T2" fmla="*/ 0 w 33"/>
                  <a:gd name="T3" fmla="*/ 8 h 34"/>
                  <a:gd name="T4" fmla="*/ 7 w 33"/>
                  <a:gd name="T5" fmla="*/ 0 h 34"/>
                  <a:gd name="T6" fmla="*/ 33 w 33"/>
                  <a:gd name="T7" fmla="*/ 26 h 34"/>
                  <a:gd name="T8" fmla="*/ 26 w 33"/>
                  <a:gd name="T9" fmla="*/ 34 h 34"/>
                </a:gdLst>
                <a:ahLst/>
                <a:cxnLst>
                  <a:cxn ang="0">
                    <a:pos x="T0" y="T1"/>
                  </a:cxn>
                  <a:cxn ang="0">
                    <a:pos x="T2" y="T3"/>
                  </a:cxn>
                  <a:cxn ang="0">
                    <a:pos x="T4" y="T5"/>
                  </a:cxn>
                  <a:cxn ang="0">
                    <a:pos x="T6" y="T7"/>
                  </a:cxn>
                  <a:cxn ang="0">
                    <a:pos x="T8" y="T9"/>
                  </a:cxn>
                </a:cxnLst>
                <a:rect l="0" t="0" r="r" b="b"/>
                <a:pathLst>
                  <a:path w="33" h="34">
                    <a:moveTo>
                      <a:pt x="26" y="34"/>
                    </a:moveTo>
                    <a:lnTo>
                      <a:pt x="0" y="8"/>
                    </a:lnTo>
                    <a:lnTo>
                      <a:pt x="7" y="0"/>
                    </a:lnTo>
                    <a:lnTo>
                      <a:pt x="33" y="26"/>
                    </a:lnTo>
                    <a:lnTo>
                      <a:pt x="2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2" name="Freeform 26"/>
              <p:cNvSpPr>
                <a:spLocks/>
              </p:cNvSpPr>
              <p:nvPr userDrawn="1"/>
            </p:nvSpPr>
            <p:spPr bwMode="auto">
              <a:xfrm>
                <a:off x="1912938" y="3102809"/>
                <a:ext cx="53975" cy="53975"/>
              </a:xfrm>
              <a:custGeom>
                <a:avLst/>
                <a:gdLst>
                  <a:gd name="T0" fmla="*/ 8 w 34"/>
                  <a:gd name="T1" fmla="*/ 34 h 34"/>
                  <a:gd name="T2" fmla="*/ 0 w 34"/>
                  <a:gd name="T3" fmla="*/ 26 h 34"/>
                  <a:gd name="T4" fmla="*/ 25 w 34"/>
                  <a:gd name="T5" fmla="*/ 0 h 34"/>
                  <a:gd name="T6" fmla="*/ 34 w 34"/>
                  <a:gd name="T7" fmla="*/ 8 h 34"/>
                  <a:gd name="T8" fmla="*/ 8 w 34"/>
                  <a:gd name="T9" fmla="*/ 34 h 34"/>
                </a:gdLst>
                <a:ahLst/>
                <a:cxnLst>
                  <a:cxn ang="0">
                    <a:pos x="T0" y="T1"/>
                  </a:cxn>
                  <a:cxn ang="0">
                    <a:pos x="T2" y="T3"/>
                  </a:cxn>
                  <a:cxn ang="0">
                    <a:pos x="T4" y="T5"/>
                  </a:cxn>
                  <a:cxn ang="0">
                    <a:pos x="T6" y="T7"/>
                  </a:cxn>
                  <a:cxn ang="0">
                    <a:pos x="T8" y="T9"/>
                  </a:cxn>
                </a:cxnLst>
                <a:rect l="0" t="0" r="r" b="b"/>
                <a:pathLst>
                  <a:path w="34" h="34">
                    <a:moveTo>
                      <a:pt x="8" y="34"/>
                    </a:moveTo>
                    <a:lnTo>
                      <a:pt x="0" y="26"/>
                    </a:lnTo>
                    <a:lnTo>
                      <a:pt x="25" y="0"/>
                    </a:lnTo>
                    <a:lnTo>
                      <a:pt x="34" y="8"/>
                    </a:lnTo>
                    <a:lnTo>
                      <a:pt x="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3" name="Freeform 27"/>
              <p:cNvSpPr>
                <a:spLocks/>
              </p:cNvSpPr>
              <p:nvPr userDrawn="1"/>
            </p:nvSpPr>
            <p:spPr bwMode="auto">
              <a:xfrm>
                <a:off x="1747838" y="3269496"/>
                <a:ext cx="52388" cy="50800"/>
              </a:xfrm>
              <a:custGeom>
                <a:avLst/>
                <a:gdLst>
                  <a:gd name="T0" fmla="*/ 7 w 33"/>
                  <a:gd name="T1" fmla="*/ 32 h 32"/>
                  <a:gd name="T2" fmla="*/ 0 w 33"/>
                  <a:gd name="T3" fmla="*/ 25 h 32"/>
                  <a:gd name="T4" fmla="*/ 26 w 33"/>
                  <a:gd name="T5" fmla="*/ 0 h 32"/>
                  <a:gd name="T6" fmla="*/ 33 w 33"/>
                  <a:gd name="T7" fmla="*/ 6 h 32"/>
                  <a:gd name="T8" fmla="*/ 7 w 33"/>
                  <a:gd name="T9" fmla="*/ 32 h 32"/>
                </a:gdLst>
                <a:ahLst/>
                <a:cxnLst>
                  <a:cxn ang="0">
                    <a:pos x="T0" y="T1"/>
                  </a:cxn>
                  <a:cxn ang="0">
                    <a:pos x="T2" y="T3"/>
                  </a:cxn>
                  <a:cxn ang="0">
                    <a:pos x="T4" y="T5"/>
                  </a:cxn>
                  <a:cxn ang="0">
                    <a:pos x="T6" y="T7"/>
                  </a:cxn>
                  <a:cxn ang="0">
                    <a:pos x="T8" y="T9"/>
                  </a:cxn>
                </a:cxnLst>
                <a:rect l="0" t="0" r="r" b="b"/>
                <a:pathLst>
                  <a:path w="33" h="32">
                    <a:moveTo>
                      <a:pt x="7" y="32"/>
                    </a:moveTo>
                    <a:lnTo>
                      <a:pt x="0" y="25"/>
                    </a:lnTo>
                    <a:lnTo>
                      <a:pt x="26" y="0"/>
                    </a:lnTo>
                    <a:lnTo>
                      <a:pt x="33" y="6"/>
                    </a:lnTo>
                    <a:lnTo>
                      <a:pt x="7"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grpSp>
        <p:nvGrpSpPr>
          <p:cNvPr id="44" name="Small Wheel 1"/>
          <p:cNvGrpSpPr/>
          <p:nvPr userDrawn="1"/>
        </p:nvGrpSpPr>
        <p:grpSpPr>
          <a:xfrm>
            <a:off x="7193945" y="5765664"/>
            <a:ext cx="322429" cy="313173"/>
            <a:chOff x="2559051" y="3645734"/>
            <a:chExt cx="390525" cy="379413"/>
          </a:xfrm>
          <a:solidFill>
            <a:schemeClr val="accent4"/>
          </a:solidFill>
        </p:grpSpPr>
        <p:sp>
          <p:nvSpPr>
            <p:cNvPr id="45" name="Freeform 28"/>
            <p:cNvSpPr>
              <a:spLocks noEditPoints="1"/>
            </p:cNvSpPr>
            <p:nvPr userDrawn="1"/>
          </p:nvSpPr>
          <p:spPr bwMode="auto">
            <a:xfrm>
              <a:off x="2559051" y="3645734"/>
              <a:ext cx="390525" cy="379413"/>
            </a:xfrm>
            <a:custGeom>
              <a:avLst/>
              <a:gdLst>
                <a:gd name="T0" fmla="*/ 71 w 143"/>
                <a:gd name="T1" fmla="*/ 139 h 139"/>
                <a:gd name="T2" fmla="*/ 71 w 143"/>
                <a:gd name="T3" fmla="*/ 139 h 139"/>
                <a:gd name="T4" fmla="*/ 5 w 143"/>
                <a:gd name="T5" fmla="*/ 88 h 139"/>
                <a:gd name="T6" fmla="*/ 11 w 143"/>
                <a:gd name="T7" fmla="*/ 35 h 139"/>
                <a:gd name="T8" fmla="*/ 53 w 143"/>
                <a:gd name="T9" fmla="*/ 2 h 139"/>
                <a:gd name="T10" fmla="*/ 71 w 143"/>
                <a:gd name="T11" fmla="*/ 0 h 139"/>
                <a:gd name="T12" fmla="*/ 138 w 143"/>
                <a:gd name="T13" fmla="*/ 50 h 139"/>
                <a:gd name="T14" fmla="*/ 132 w 143"/>
                <a:gd name="T15" fmla="*/ 103 h 139"/>
                <a:gd name="T16" fmla="*/ 90 w 143"/>
                <a:gd name="T17" fmla="*/ 136 h 139"/>
                <a:gd name="T18" fmla="*/ 71 w 143"/>
                <a:gd name="T19" fmla="*/ 139 h 139"/>
                <a:gd name="T20" fmla="*/ 71 w 143"/>
                <a:gd name="T21" fmla="*/ 9 h 139"/>
                <a:gd name="T22" fmla="*/ 55 w 143"/>
                <a:gd name="T23" fmla="*/ 11 h 139"/>
                <a:gd name="T24" fmla="*/ 19 w 143"/>
                <a:gd name="T25" fmla="*/ 40 h 139"/>
                <a:gd name="T26" fmla="*/ 13 w 143"/>
                <a:gd name="T27" fmla="*/ 86 h 139"/>
                <a:gd name="T28" fmla="*/ 71 w 143"/>
                <a:gd name="T29" fmla="*/ 130 h 139"/>
                <a:gd name="T30" fmla="*/ 71 w 143"/>
                <a:gd name="T31" fmla="*/ 130 h 139"/>
                <a:gd name="T32" fmla="*/ 88 w 143"/>
                <a:gd name="T33" fmla="*/ 127 h 139"/>
                <a:gd name="T34" fmla="*/ 124 w 143"/>
                <a:gd name="T35" fmla="*/ 99 h 139"/>
                <a:gd name="T36" fmla="*/ 130 w 143"/>
                <a:gd name="T37" fmla="*/ 53 h 139"/>
                <a:gd name="T38" fmla="*/ 71 w 143"/>
                <a:gd name="T39"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39">
                  <a:moveTo>
                    <a:pt x="71" y="139"/>
                  </a:moveTo>
                  <a:cubicBezTo>
                    <a:pt x="71" y="139"/>
                    <a:pt x="71" y="139"/>
                    <a:pt x="71" y="139"/>
                  </a:cubicBezTo>
                  <a:cubicBezTo>
                    <a:pt x="40" y="139"/>
                    <a:pt x="13" y="118"/>
                    <a:pt x="5" y="88"/>
                  </a:cubicBezTo>
                  <a:cubicBezTo>
                    <a:pt x="0" y="70"/>
                    <a:pt x="2" y="51"/>
                    <a:pt x="11" y="35"/>
                  </a:cubicBezTo>
                  <a:cubicBezTo>
                    <a:pt x="20" y="19"/>
                    <a:pt x="35" y="7"/>
                    <a:pt x="53" y="2"/>
                  </a:cubicBezTo>
                  <a:cubicBezTo>
                    <a:pt x="59" y="1"/>
                    <a:pt x="65" y="0"/>
                    <a:pt x="71" y="0"/>
                  </a:cubicBezTo>
                  <a:cubicBezTo>
                    <a:pt x="102" y="0"/>
                    <a:pt x="130" y="21"/>
                    <a:pt x="138" y="50"/>
                  </a:cubicBezTo>
                  <a:cubicBezTo>
                    <a:pt x="143" y="68"/>
                    <a:pt x="141" y="87"/>
                    <a:pt x="132" y="103"/>
                  </a:cubicBezTo>
                  <a:cubicBezTo>
                    <a:pt x="123" y="119"/>
                    <a:pt x="108" y="131"/>
                    <a:pt x="90" y="136"/>
                  </a:cubicBezTo>
                  <a:cubicBezTo>
                    <a:pt x="84" y="138"/>
                    <a:pt x="78" y="139"/>
                    <a:pt x="71" y="139"/>
                  </a:cubicBezTo>
                  <a:close/>
                  <a:moveTo>
                    <a:pt x="71" y="9"/>
                  </a:moveTo>
                  <a:cubicBezTo>
                    <a:pt x="66" y="9"/>
                    <a:pt x="60" y="9"/>
                    <a:pt x="55" y="11"/>
                  </a:cubicBezTo>
                  <a:cubicBezTo>
                    <a:pt x="39" y="15"/>
                    <a:pt x="27" y="26"/>
                    <a:pt x="19" y="40"/>
                  </a:cubicBezTo>
                  <a:cubicBezTo>
                    <a:pt x="11" y="54"/>
                    <a:pt x="9" y="70"/>
                    <a:pt x="13" y="86"/>
                  </a:cubicBezTo>
                  <a:cubicBezTo>
                    <a:pt x="21" y="112"/>
                    <a:pt x="44" y="130"/>
                    <a:pt x="71" y="130"/>
                  </a:cubicBezTo>
                  <a:cubicBezTo>
                    <a:pt x="71" y="130"/>
                    <a:pt x="71" y="130"/>
                    <a:pt x="71" y="130"/>
                  </a:cubicBezTo>
                  <a:cubicBezTo>
                    <a:pt x="77" y="130"/>
                    <a:pt x="82" y="129"/>
                    <a:pt x="88" y="127"/>
                  </a:cubicBezTo>
                  <a:cubicBezTo>
                    <a:pt x="103" y="123"/>
                    <a:pt x="116" y="113"/>
                    <a:pt x="124" y="99"/>
                  </a:cubicBezTo>
                  <a:cubicBezTo>
                    <a:pt x="132" y="85"/>
                    <a:pt x="134" y="68"/>
                    <a:pt x="130" y="53"/>
                  </a:cubicBezTo>
                  <a:cubicBezTo>
                    <a:pt x="122" y="27"/>
                    <a:pt x="98" y="9"/>
                    <a:pt x="7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nvGrpSpPr>
            <p:cNvPr id="46" name="Pin wheel 2"/>
            <p:cNvGrpSpPr/>
            <p:nvPr userDrawn="1"/>
          </p:nvGrpSpPr>
          <p:grpSpPr>
            <a:xfrm>
              <a:off x="2627313" y="3709234"/>
              <a:ext cx="254000" cy="252413"/>
              <a:chOff x="2627313" y="3709234"/>
              <a:chExt cx="254000" cy="252413"/>
            </a:xfrm>
            <a:grpFill/>
          </p:grpSpPr>
          <p:sp>
            <p:nvSpPr>
              <p:cNvPr id="47" name="Freeform 29"/>
              <p:cNvSpPr>
                <a:spLocks noEditPoints="1"/>
              </p:cNvSpPr>
              <p:nvPr userDrawn="1"/>
            </p:nvSpPr>
            <p:spPr bwMode="auto">
              <a:xfrm>
                <a:off x="2709863" y="3790196"/>
                <a:ext cx="90488" cy="87313"/>
              </a:xfrm>
              <a:custGeom>
                <a:avLst/>
                <a:gdLst>
                  <a:gd name="T0" fmla="*/ 16 w 33"/>
                  <a:gd name="T1" fmla="*/ 32 h 32"/>
                  <a:gd name="T2" fmla="*/ 0 w 33"/>
                  <a:gd name="T3" fmla="*/ 16 h 32"/>
                  <a:gd name="T4" fmla="*/ 16 w 33"/>
                  <a:gd name="T5" fmla="*/ 0 h 32"/>
                  <a:gd name="T6" fmla="*/ 33 w 33"/>
                  <a:gd name="T7" fmla="*/ 16 h 32"/>
                  <a:gd name="T8" fmla="*/ 16 w 33"/>
                  <a:gd name="T9" fmla="*/ 32 h 32"/>
                  <a:gd name="T10" fmla="*/ 16 w 33"/>
                  <a:gd name="T11" fmla="*/ 6 h 32"/>
                  <a:gd name="T12" fmla="*/ 7 w 33"/>
                  <a:gd name="T13" fmla="*/ 16 h 32"/>
                  <a:gd name="T14" fmla="*/ 16 w 33"/>
                  <a:gd name="T15" fmla="*/ 26 h 32"/>
                  <a:gd name="T16" fmla="*/ 16 w 33"/>
                  <a:gd name="T17" fmla="*/ 29 h 32"/>
                  <a:gd name="T18" fmla="*/ 16 w 33"/>
                  <a:gd name="T19" fmla="*/ 26 h 32"/>
                  <a:gd name="T20" fmla="*/ 26 w 33"/>
                  <a:gd name="T21" fmla="*/ 16 h 32"/>
                  <a:gd name="T22" fmla="*/ 16 w 33"/>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2">
                    <a:moveTo>
                      <a:pt x="16" y="32"/>
                    </a:moveTo>
                    <a:cubicBezTo>
                      <a:pt x="8" y="32"/>
                      <a:pt x="0" y="25"/>
                      <a:pt x="0" y="16"/>
                    </a:cubicBezTo>
                    <a:cubicBezTo>
                      <a:pt x="0" y="7"/>
                      <a:pt x="7" y="0"/>
                      <a:pt x="16" y="0"/>
                    </a:cubicBezTo>
                    <a:cubicBezTo>
                      <a:pt x="25" y="0"/>
                      <a:pt x="33" y="7"/>
                      <a:pt x="33" y="16"/>
                    </a:cubicBezTo>
                    <a:cubicBezTo>
                      <a:pt x="33" y="25"/>
                      <a:pt x="25" y="32"/>
                      <a:pt x="16" y="32"/>
                    </a:cubicBezTo>
                    <a:close/>
                    <a:moveTo>
                      <a:pt x="16" y="6"/>
                    </a:moveTo>
                    <a:cubicBezTo>
                      <a:pt x="11" y="6"/>
                      <a:pt x="7" y="11"/>
                      <a:pt x="7" y="16"/>
                    </a:cubicBezTo>
                    <a:cubicBezTo>
                      <a:pt x="7" y="22"/>
                      <a:pt x="11" y="26"/>
                      <a:pt x="16" y="26"/>
                    </a:cubicBezTo>
                    <a:cubicBezTo>
                      <a:pt x="16" y="29"/>
                      <a:pt x="16" y="29"/>
                      <a:pt x="16" y="29"/>
                    </a:cubicBezTo>
                    <a:cubicBezTo>
                      <a:pt x="16" y="26"/>
                      <a:pt x="16" y="26"/>
                      <a:pt x="16" y="26"/>
                    </a:cubicBezTo>
                    <a:cubicBezTo>
                      <a:pt x="22" y="26"/>
                      <a:pt x="26" y="22"/>
                      <a:pt x="26" y="16"/>
                    </a:cubicBezTo>
                    <a:cubicBezTo>
                      <a:pt x="26" y="11"/>
                      <a:pt x="22" y="6"/>
                      <a:pt x="1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8" name="Rectangle 30"/>
              <p:cNvSpPr>
                <a:spLocks noChangeArrowheads="1"/>
              </p:cNvSpPr>
              <p:nvPr userDrawn="1"/>
            </p:nvSpPr>
            <p:spPr bwMode="auto">
              <a:xfrm>
                <a:off x="2627313" y="3825121"/>
                <a:ext cx="571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49" name="Rectangle 31"/>
              <p:cNvSpPr>
                <a:spLocks noChangeArrowheads="1"/>
              </p:cNvSpPr>
              <p:nvPr userDrawn="1"/>
            </p:nvSpPr>
            <p:spPr bwMode="auto">
              <a:xfrm>
                <a:off x="2820988" y="3825121"/>
                <a:ext cx="603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0" name="Rectangle 32"/>
              <p:cNvSpPr>
                <a:spLocks noChangeArrowheads="1"/>
              </p:cNvSpPr>
              <p:nvPr userDrawn="1"/>
            </p:nvSpPr>
            <p:spPr bwMode="auto">
              <a:xfrm>
                <a:off x="2744788" y="3902909"/>
                <a:ext cx="190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1" name="Rectangle 33"/>
              <p:cNvSpPr>
                <a:spLocks noChangeArrowheads="1"/>
              </p:cNvSpPr>
              <p:nvPr userDrawn="1"/>
            </p:nvSpPr>
            <p:spPr bwMode="auto">
              <a:xfrm>
                <a:off x="2744788" y="3709234"/>
                <a:ext cx="1905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2" name="Freeform 34"/>
              <p:cNvSpPr>
                <a:spLocks/>
              </p:cNvSpPr>
              <p:nvPr userDrawn="1"/>
            </p:nvSpPr>
            <p:spPr bwMode="auto">
              <a:xfrm>
                <a:off x="2797176" y="3877509"/>
                <a:ext cx="42863" cy="44450"/>
              </a:xfrm>
              <a:custGeom>
                <a:avLst/>
                <a:gdLst>
                  <a:gd name="T0" fmla="*/ 21 w 27"/>
                  <a:gd name="T1" fmla="*/ 28 h 28"/>
                  <a:gd name="T2" fmla="*/ 0 w 27"/>
                  <a:gd name="T3" fmla="*/ 7 h 28"/>
                  <a:gd name="T4" fmla="*/ 7 w 27"/>
                  <a:gd name="T5" fmla="*/ 0 h 28"/>
                  <a:gd name="T6" fmla="*/ 27 w 27"/>
                  <a:gd name="T7" fmla="*/ 21 h 28"/>
                  <a:gd name="T8" fmla="*/ 21 w 27"/>
                  <a:gd name="T9" fmla="*/ 28 h 28"/>
                </a:gdLst>
                <a:ahLst/>
                <a:cxnLst>
                  <a:cxn ang="0">
                    <a:pos x="T0" y="T1"/>
                  </a:cxn>
                  <a:cxn ang="0">
                    <a:pos x="T2" y="T3"/>
                  </a:cxn>
                  <a:cxn ang="0">
                    <a:pos x="T4" y="T5"/>
                  </a:cxn>
                  <a:cxn ang="0">
                    <a:pos x="T6" y="T7"/>
                  </a:cxn>
                  <a:cxn ang="0">
                    <a:pos x="T8" y="T9"/>
                  </a:cxn>
                </a:cxnLst>
                <a:rect l="0" t="0" r="r" b="b"/>
                <a:pathLst>
                  <a:path w="27" h="28">
                    <a:moveTo>
                      <a:pt x="21" y="28"/>
                    </a:moveTo>
                    <a:lnTo>
                      <a:pt x="0" y="7"/>
                    </a:lnTo>
                    <a:lnTo>
                      <a:pt x="7" y="0"/>
                    </a:lnTo>
                    <a:lnTo>
                      <a:pt x="27" y="21"/>
                    </a:ln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3" name="Freeform 35"/>
              <p:cNvSpPr>
                <a:spLocks/>
              </p:cNvSpPr>
              <p:nvPr userDrawn="1"/>
            </p:nvSpPr>
            <p:spPr bwMode="auto">
              <a:xfrm>
                <a:off x="2668588" y="3747334"/>
                <a:ext cx="44450" cy="46038"/>
              </a:xfrm>
              <a:custGeom>
                <a:avLst/>
                <a:gdLst>
                  <a:gd name="T0" fmla="*/ 19 w 28"/>
                  <a:gd name="T1" fmla="*/ 29 h 29"/>
                  <a:gd name="T2" fmla="*/ 0 w 28"/>
                  <a:gd name="T3" fmla="*/ 8 h 29"/>
                  <a:gd name="T4" fmla="*/ 7 w 28"/>
                  <a:gd name="T5" fmla="*/ 0 h 29"/>
                  <a:gd name="T6" fmla="*/ 28 w 28"/>
                  <a:gd name="T7" fmla="*/ 20 h 29"/>
                  <a:gd name="T8" fmla="*/ 19 w 28"/>
                  <a:gd name="T9" fmla="*/ 29 h 29"/>
                </a:gdLst>
                <a:ahLst/>
                <a:cxnLst>
                  <a:cxn ang="0">
                    <a:pos x="T0" y="T1"/>
                  </a:cxn>
                  <a:cxn ang="0">
                    <a:pos x="T2" y="T3"/>
                  </a:cxn>
                  <a:cxn ang="0">
                    <a:pos x="T4" y="T5"/>
                  </a:cxn>
                  <a:cxn ang="0">
                    <a:pos x="T6" y="T7"/>
                  </a:cxn>
                  <a:cxn ang="0">
                    <a:pos x="T8" y="T9"/>
                  </a:cxn>
                </a:cxnLst>
                <a:rect l="0" t="0" r="r" b="b"/>
                <a:pathLst>
                  <a:path w="28" h="29">
                    <a:moveTo>
                      <a:pt x="19" y="29"/>
                    </a:moveTo>
                    <a:lnTo>
                      <a:pt x="0" y="8"/>
                    </a:lnTo>
                    <a:lnTo>
                      <a:pt x="7" y="0"/>
                    </a:lnTo>
                    <a:lnTo>
                      <a:pt x="28" y="20"/>
                    </a:lnTo>
                    <a:lnTo>
                      <a:pt x="1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4" name="Freeform 36"/>
              <p:cNvSpPr>
                <a:spLocks/>
              </p:cNvSpPr>
              <p:nvPr userDrawn="1"/>
            </p:nvSpPr>
            <p:spPr bwMode="auto">
              <a:xfrm>
                <a:off x="2797176" y="3747334"/>
                <a:ext cx="42863" cy="46038"/>
              </a:xfrm>
              <a:custGeom>
                <a:avLst/>
                <a:gdLst>
                  <a:gd name="T0" fmla="*/ 7 w 27"/>
                  <a:gd name="T1" fmla="*/ 29 h 29"/>
                  <a:gd name="T2" fmla="*/ 0 w 27"/>
                  <a:gd name="T3" fmla="*/ 20 h 29"/>
                  <a:gd name="T4" fmla="*/ 21 w 27"/>
                  <a:gd name="T5" fmla="*/ 0 h 29"/>
                  <a:gd name="T6" fmla="*/ 27 w 27"/>
                  <a:gd name="T7" fmla="*/ 8 h 29"/>
                  <a:gd name="T8" fmla="*/ 7 w 27"/>
                  <a:gd name="T9" fmla="*/ 29 h 29"/>
                </a:gdLst>
                <a:ahLst/>
                <a:cxnLst>
                  <a:cxn ang="0">
                    <a:pos x="T0" y="T1"/>
                  </a:cxn>
                  <a:cxn ang="0">
                    <a:pos x="T2" y="T3"/>
                  </a:cxn>
                  <a:cxn ang="0">
                    <a:pos x="T4" y="T5"/>
                  </a:cxn>
                  <a:cxn ang="0">
                    <a:pos x="T6" y="T7"/>
                  </a:cxn>
                  <a:cxn ang="0">
                    <a:pos x="T8" y="T9"/>
                  </a:cxn>
                </a:cxnLst>
                <a:rect l="0" t="0" r="r" b="b"/>
                <a:pathLst>
                  <a:path w="27" h="29">
                    <a:moveTo>
                      <a:pt x="7" y="29"/>
                    </a:moveTo>
                    <a:lnTo>
                      <a:pt x="0" y="20"/>
                    </a:lnTo>
                    <a:lnTo>
                      <a:pt x="21" y="0"/>
                    </a:lnTo>
                    <a:lnTo>
                      <a:pt x="27" y="8"/>
                    </a:lnTo>
                    <a:lnTo>
                      <a:pt x="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55" name="Freeform 37"/>
              <p:cNvSpPr>
                <a:spLocks/>
              </p:cNvSpPr>
              <p:nvPr userDrawn="1"/>
            </p:nvSpPr>
            <p:spPr bwMode="auto">
              <a:xfrm>
                <a:off x="2668588" y="3877509"/>
                <a:ext cx="44450" cy="44450"/>
              </a:xfrm>
              <a:custGeom>
                <a:avLst/>
                <a:gdLst>
                  <a:gd name="T0" fmla="*/ 7 w 28"/>
                  <a:gd name="T1" fmla="*/ 28 h 28"/>
                  <a:gd name="T2" fmla="*/ 0 w 28"/>
                  <a:gd name="T3" fmla="*/ 21 h 28"/>
                  <a:gd name="T4" fmla="*/ 19 w 28"/>
                  <a:gd name="T5" fmla="*/ 0 h 28"/>
                  <a:gd name="T6" fmla="*/ 28 w 28"/>
                  <a:gd name="T7" fmla="*/ 7 h 28"/>
                  <a:gd name="T8" fmla="*/ 7 w 28"/>
                  <a:gd name="T9" fmla="*/ 28 h 28"/>
                </a:gdLst>
                <a:ahLst/>
                <a:cxnLst>
                  <a:cxn ang="0">
                    <a:pos x="T0" y="T1"/>
                  </a:cxn>
                  <a:cxn ang="0">
                    <a:pos x="T2" y="T3"/>
                  </a:cxn>
                  <a:cxn ang="0">
                    <a:pos x="T4" y="T5"/>
                  </a:cxn>
                  <a:cxn ang="0">
                    <a:pos x="T6" y="T7"/>
                  </a:cxn>
                  <a:cxn ang="0">
                    <a:pos x="T8" y="T9"/>
                  </a:cxn>
                </a:cxnLst>
                <a:rect l="0" t="0" r="r" b="b"/>
                <a:pathLst>
                  <a:path w="28" h="28">
                    <a:moveTo>
                      <a:pt x="7" y="28"/>
                    </a:moveTo>
                    <a:lnTo>
                      <a:pt x="0" y="21"/>
                    </a:lnTo>
                    <a:lnTo>
                      <a:pt x="19" y="0"/>
                    </a:lnTo>
                    <a:lnTo>
                      <a:pt x="28" y="7"/>
                    </a:lnTo>
                    <a:lnTo>
                      <a:pt x="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sp useBgFill="1">
        <p:nvSpPr>
          <p:cNvPr id="73" name="Blink Block"/>
          <p:cNvSpPr/>
          <p:nvPr userDrawn="1"/>
        </p:nvSpPr>
        <p:spPr bwMode="auto">
          <a:xfrm>
            <a:off x="8121028" y="3750229"/>
            <a:ext cx="3323159"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Qualcomm Office Regular" pitchFamily="34" charset="0"/>
            </a:endParaRPr>
          </a:p>
        </p:txBody>
      </p:sp>
      <p:pic>
        <p:nvPicPr>
          <p:cNvPr id="64" name="arrowMask"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710" y="0"/>
            <a:ext cx="7255762" cy="6896482"/>
          </a:xfrm>
          <a:prstGeom prst="rect">
            <a:avLst/>
          </a:prstGeom>
          <a:noFill/>
        </p:spPr>
      </p:pic>
      <p:sp useBgFill="1">
        <p:nvSpPr>
          <p:cNvPr id="56" name="Blink Block"/>
          <p:cNvSpPr/>
          <p:nvPr userDrawn="1"/>
        </p:nvSpPr>
        <p:spPr bwMode="auto">
          <a:xfrm>
            <a:off x="8121028" y="3750229"/>
            <a:ext cx="3323159"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Qualcomm Office Regular" pitchFamily="34" charset="0"/>
            </a:endParaRPr>
          </a:p>
        </p:txBody>
      </p:sp>
      <p:grpSp>
        <p:nvGrpSpPr>
          <p:cNvPr id="59" name="Yellow Arrow 2"/>
          <p:cNvGrpSpPr/>
          <p:nvPr userDrawn="1"/>
        </p:nvGrpSpPr>
        <p:grpSpPr>
          <a:xfrm>
            <a:off x="8430651" y="5186512"/>
            <a:ext cx="1602592" cy="389150"/>
            <a:chOff x="8730417" y="1481563"/>
            <a:chExt cx="1602175" cy="389150"/>
          </a:xfrm>
        </p:grpSpPr>
        <p:sp>
          <p:nvSpPr>
            <p:cNvPr id="60" name="Freeform 9"/>
            <p:cNvSpPr>
              <a:spLocks noEditPoints="1"/>
            </p:cNvSpPr>
            <p:nvPr userDrawn="1"/>
          </p:nvSpPr>
          <p:spPr bwMode="auto">
            <a:xfrm>
              <a:off x="8833839" y="1630562"/>
              <a:ext cx="1130639" cy="89399"/>
            </a:xfrm>
            <a:custGeom>
              <a:avLst/>
              <a:gdLst>
                <a:gd name="T0" fmla="*/ 524 w 546"/>
                <a:gd name="T1" fmla="*/ 43 h 43"/>
                <a:gd name="T2" fmla="*/ 21 w 546"/>
                <a:gd name="T3" fmla="*/ 43 h 43"/>
                <a:gd name="T4" fmla="*/ 0 w 546"/>
                <a:gd name="T5" fmla="*/ 22 h 43"/>
                <a:gd name="T6" fmla="*/ 21 w 546"/>
                <a:gd name="T7" fmla="*/ 0 h 43"/>
                <a:gd name="T8" fmla="*/ 524 w 546"/>
                <a:gd name="T9" fmla="*/ 0 h 43"/>
                <a:gd name="T10" fmla="*/ 546 w 546"/>
                <a:gd name="T11" fmla="*/ 22 h 43"/>
                <a:gd name="T12" fmla="*/ 524 w 546"/>
                <a:gd name="T13" fmla="*/ 43 h 43"/>
                <a:gd name="T14" fmla="*/ 21 w 546"/>
                <a:gd name="T15" fmla="*/ 9 h 43"/>
                <a:gd name="T16" fmla="*/ 9 w 546"/>
                <a:gd name="T17" fmla="*/ 22 h 43"/>
                <a:gd name="T18" fmla="*/ 21 w 546"/>
                <a:gd name="T19" fmla="*/ 34 h 43"/>
                <a:gd name="T20" fmla="*/ 524 w 546"/>
                <a:gd name="T21" fmla="*/ 34 h 43"/>
                <a:gd name="T22" fmla="*/ 537 w 546"/>
                <a:gd name="T23" fmla="*/ 22 h 43"/>
                <a:gd name="T24" fmla="*/ 524 w 546"/>
                <a:gd name="T25" fmla="*/ 9 h 43"/>
                <a:gd name="T26" fmla="*/ 21 w 546"/>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6" h="43">
                  <a:moveTo>
                    <a:pt x="524" y="43"/>
                  </a:moveTo>
                  <a:cubicBezTo>
                    <a:pt x="21" y="43"/>
                    <a:pt x="21" y="43"/>
                    <a:pt x="21" y="43"/>
                  </a:cubicBezTo>
                  <a:cubicBezTo>
                    <a:pt x="9" y="43"/>
                    <a:pt x="0" y="34"/>
                    <a:pt x="0" y="22"/>
                  </a:cubicBezTo>
                  <a:cubicBezTo>
                    <a:pt x="0" y="10"/>
                    <a:pt x="9" y="0"/>
                    <a:pt x="21" y="0"/>
                  </a:cubicBezTo>
                  <a:cubicBezTo>
                    <a:pt x="524" y="0"/>
                    <a:pt x="524" y="0"/>
                    <a:pt x="524" y="0"/>
                  </a:cubicBezTo>
                  <a:cubicBezTo>
                    <a:pt x="536" y="0"/>
                    <a:pt x="546" y="10"/>
                    <a:pt x="546" y="22"/>
                  </a:cubicBezTo>
                  <a:cubicBezTo>
                    <a:pt x="546" y="34"/>
                    <a:pt x="536" y="43"/>
                    <a:pt x="524" y="43"/>
                  </a:cubicBezTo>
                  <a:close/>
                  <a:moveTo>
                    <a:pt x="21" y="9"/>
                  </a:moveTo>
                  <a:cubicBezTo>
                    <a:pt x="14" y="9"/>
                    <a:pt x="9" y="15"/>
                    <a:pt x="9" y="22"/>
                  </a:cubicBezTo>
                  <a:cubicBezTo>
                    <a:pt x="9" y="29"/>
                    <a:pt x="14" y="34"/>
                    <a:pt x="21" y="34"/>
                  </a:cubicBezTo>
                  <a:cubicBezTo>
                    <a:pt x="524" y="34"/>
                    <a:pt x="524" y="34"/>
                    <a:pt x="524" y="34"/>
                  </a:cubicBezTo>
                  <a:cubicBezTo>
                    <a:pt x="531" y="34"/>
                    <a:pt x="537" y="29"/>
                    <a:pt x="537" y="22"/>
                  </a:cubicBezTo>
                  <a:cubicBezTo>
                    <a:pt x="537" y="15"/>
                    <a:pt x="531" y="9"/>
                    <a:pt x="524" y="9"/>
                  </a:cubicBezTo>
                  <a:lnTo>
                    <a:pt x="2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1" name="Freeform 10"/>
            <p:cNvSpPr>
              <a:spLocks noEditPoints="1"/>
            </p:cNvSpPr>
            <p:nvPr userDrawn="1"/>
          </p:nvSpPr>
          <p:spPr bwMode="auto">
            <a:xfrm>
              <a:off x="9981130" y="1481563"/>
              <a:ext cx="351462" cy="389150"/>
            </a:xfrm>
            <a:custGeom>
              <a:avLst/>
              <a:gdLst>
                <a:gd name="T0" fmla="*/ 71 w 170"/>
                <a:gd name="T1" fmla="*/ 188 h 188"/>
                <a:gd name="T2" fmla="*/ 56 w 170"/>
                <a:gd name="T3" fmla="*/ 181 h 188"/>
                <a:gd name="T4" fmla="*/ 50 w 170"/>
                <a:gd name="T5" fmla="*/ 166 h 188"/>
                <a:gd name="T6" fmla="*/ 56 w 170"/>
                <a:gd name="T7" fmla="*/ 151 h 188"/>
                <a:gd name="T8" fmla="*/ 92 w 170"/>
                <a:gd name="T9" fmla="*/ 115 h 188"/>
                <a:gd name="T10" fmla="*/ 22 w 170"/>
                <a:gd name="T11" fmla="*/ 115 h 188"/>
                <a:gd name="T12" fmla="*/ 0 w 170"/>
                <a:gd name="T13" fmla="*/ 94 h 188"/>
                <a:gd name="T14" fmla="*/ 22 w 170"/>
                <a:gd name="T15" fmla="*/ 72 h 188"/>
                <a:gd name="T16" fmla="*/ 92 w 170"/>
                <a:gd name="T17" fmla="*/ 72 h 188"/>
                <a:gd name="T18" fmla="*/ 56 w 170"/>
                <a:gd name="T19" fmla="*/ 37 h 188"/>
                <a:gd name="T20" fmla="*/ 50 w 170"/>
                <a:gd name="T21" fmla="*/ 21 h 188"/>
                <a:gd name="T22" fmla="*/ 56 w 170"/>
                <a:gd name="T23" fmla="*/ 6 h 188"/>
                <a:gd name="T24" fmla="*/ 71 w 170"/>
                <a:gd name="T25" fmla="*/ 0 h 188"/>
                <a:gd name="T26" fmla="*/ 87 w 170"/>
                <a:gd name="T27" fmla="*/ 6 h 188"/>
                <a:gd name="T28" fmla="*/ 159 w 170"/>
                <a:gd name="T29" fmla="*/ 79 h 188"/>
                <a:gd name="T30" fmla="*/ 162 w 170"/>
                <a:gd name="T31" fmla="*/ 81 h 188"/>
                <a:gd name="T32" fmla="*/ 170 w 170"/>
                <a:gd name="T33" fmla="*/ 94 h 188"/>
                <a:gd name="T34" fmla="*/ 162 w 170"/>
                <a:gd name="T35" fmla="*/ 107 h 188"/>
                <a:gd name="T36" fmla="*/ 159 w 170"/>
                <a:gd name="T37" fmla="*/ 109 h 188"/>
                <a:gd name="T38" fmla="*/ 87 w 170"/>
                <a:gd name="T39" fmla="*/ 181 h 188"/>
                <a:gd name="T40" fmla="*/ 71 w 170"/>
                <a:gd name="T41" fmla="*/ 188 h 188"/>
                <a:gd name="T42" fmla="*/ 22 w 170"/>
                <a:gd name="T43" fmla="*/ 81 h 188"/>
                <a:gd name="T44" fmla="*/ 9 w 170"/>
                <a:gd name="T45" fmla="*/ 94 h 188"/>
                <a:gd name="T46" fmla="*/ 22 w 170"/>
                <a:gd name="T47" fmla="*/ 106 h 188"/>
                <a:gd name="T48" fmla="*/ 113 w 170"/>
                <a:gd name="T49" fmla="*/ 106 h 188"/>
                <a:gd name="T50" fmla="*/ 63 w 170"/>
                <a:gd name="T51" fmla="*/ 157 h 188"/>
                <a:gd name="T52" fmla="*/ 59 w 170"/>
                <a:gd name="T53" fmla="*/ 166 h 188"/>
                <a:gd name="T54" fmla="*/ 63 w 170"/>
                <a:gd name="T55" fmla="*/ 175 h 188"/>
                <a:gd name="T56" fmla="*/ 80 w 170"/>
                <a:gd name="T57" fmla="*/ 175 h 188"/>
                <a:gd name="T58" fmla="*/ 153 w 170"/>
                <a:gd name="T59" fmla="*/ 103 h 188"/>
                <a:gd name="T60" fmla="*/ 156 w 170"/>
                <a:gd name="T61" fmla="*/ 100 h 188"/>
                <a:gd name="T62" fmla="*/ 161 w 170"/>
                <a:gd name="T63" fmla="*/ 94 h 188"/>
                <a:gd name="T64" fmla="*/ 156 w 170"/>
                <a:gd name="T65" fmla="*/ 88 h 188"/>
                <a:gd name="T66" fmla="*/ 153 w 170"/>
                <a:gd name="T67" fmla="*/ 85 h 188"/>
                <a:gd name="T68" fmla="*/ 80 w 170"/>
                <a:gd name="T69" fmla="*/ 12 h 188"/>
                <a:gd name="T70" fmla="*/ 63 w 170"/>
                <a:gd name="T71" fmla="*/ 12 h 188"/>
                <a:gd name="T72" fmla="*/ 59 w 170"/>
                <a:gd name="T73" fmla="*/ 21 h 188"/>
                <a:gd name="T74" fmla="*/ 63 w 170"/>
                <a:gd name="T75" fmla="*/ 30 h 188"/>
                <a:gd name="T76" fmla="*/ 113 w 170"/>
                <a:gd name="T77" fmla="*/ 81 h 188"/>
                <a:gd name="T78" fmla="*/ 22 w 170"/>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0" h="188">
                  <a:moveTo>
                    <a:pt x="71" y="188"/>
                  </a:moveTo>
                  <a:cubicBezTo>
                    <a:pt x="66" y="188"/>
                    <a:pt x="60" y="185"/>
                    <a:pt x="56" y="181"/>
                  </a:cubicBezTo>
                  <a:cubicBezTo>
                    <a:pt x="52" y="177"/>
                    <a:pt x="50" y="172"/>
                    <a:pt x="50" y="166"/>
                  </a:cubicBezTo>
                  <a:cubicBezTo>
                    <a:pt x="50" y="160"/>
                    <a:pt x="52" y="155"/>
                    <a:pt x="56" y="151"/>
                  </a:cubicBezTo>
                  <a:cubicBezTo>
                    <a:pt x="92" y="115"/>
                    <a:pt x="92" y="115"/>
                    <a:pt x="92" y="115"/>
                  </a:cubicBezTo>
                  <a:cubicBezTo>
                    <a:pt x="22" y="115"/>
                    <a:pt x="22" y="115"/>
                    <a:pt x="22" y="115"/>
                  </a:cubicBezTo>
                  <a:cubicBezTo>
                    <a:pt x="12" y="115"/>
                    <a:pt x="0" y="110"/>
                    <a:pt x="0" y="94"/>
                  </a:cubicBezTo>
                  <a:cubicBezTo>
                    <a:pt x="0" y="78"/>
                    <a:pt x="12" y="72"/>
                    <a:pt x="22" y="72"/>
                  </a:cubicBezTo>
                  <a:cubicBezTo>
                    <a:pt x="92" y="72"/>
                    <a:pt x="92" y="72"/>
                    <a:pt x="92" y="72"/>
                  </a:cubicBezTo>
                  <a:cubicBezTo>
                    <a:pt x="56" y="37"/>
                    <a:pt x="56" y="37"/>
                    <a:pt x="56" y="37"/>
                  </a:cubicBezTo>
                  <a:cubicBezTo>
                    <a:pt x="52" y="33"/>
                    <a:pt x="50" y="27"/>
                    <a:pt x="50" y="21"/>
                  </a:cubicBezTo>
                  <a:cubicBezTo>
                    <a:pt x="50" y="16"/>
                    <a:pt x="52" y="10"/>
                    <a:pt x="56" y="6"/>
                  </a:cubicBezTo>
                  <a:cubicBezTo>
                    <a:pt x="60" y="2"/>
                    <a:pt x="66" y="0"/>
                    <a:pt x="71" y="0"/>
                  </a:cubicBezTo>
                  <a:cubicBezTo>
                    <a:pt x="77" y="0"/>
                    <a:pt x="83" y="2"/>
                    <a:pt x="87" y="6"/>
                  </a:cubicBezTo>
                  <a:cubicBezTo>
                    <a:pt x="159" y="79"/>
                    <a:pt x="159" y="79"/>
                    <a:pt x="159" y="79"/>
                  </a:cubicBezTo>
                  <a:cubicBezTo>
                    <a:pt x="160" y="79"/>
                    <a:pt x="161" y="80"/>
                    <a:pt x="162" y="81"/>
                  </a:cubicBezTo>
                  <a:cubicBezTo>
                    <a:pt x="165" y="84"/>
                    <a:pt x="170" y="88"/>
                    <a:pt x="170" y="94"/>
                  </a:cubicBezTo>
                  <a:cubicBezTo>
                    <a:pt x="170" y="99"/>
                    <a:pt x="165" y="103"/>
                    <a:pt x="162" y="107"/>
                  </a:cubicBezTo>
                  <a:cubicBezTo>
                    <a:pt x="161" y="108"/>
                    <a:pt x="160" y="108"/>
                    <a:pt x="159" y="109"/>
                  </a:cubicBezTo>
                  <a:cubicBezTo>
                    <a:pt x="87" y="181"/>
                    <a:pt x="87" y="181"/>
                    <a:pt x="87" y="181"/>
                  </a:cubicBezTo>
                  <a:cubicBezTo>
                    <a:pt x="83" y="185"/>
                    <a:pt x="77" y="188"/>
                    <a:pt x="71" y="188"/>
                  </a:cubicBezTo>
                  <a:close/>
                  <a:moveTo>
                    <a:pt x="22" y="81"/>
                  </a:moveTo>
                  <a:cubicBezTo>
                    <a:pt x="17" y="81"/>
                    <a:pt x="9" y="83"/>
                    <a:pt x="9" y="94"/>
                  </a:cubicBezTo>
                  <a:cubicBezTo>
                    <a:pt x="9" y="105"/>
                    <a:pt x="17" y="106"/>
                    <a:pt x="22" y="106"/>
                  </a:cubicBezTo>
                  <a:cubicBezTo>
                    <a:pt x="113" y="106"/>
                    <a:pt x="113" y="106"/>
                    <a:pt x="113" y="106"/>
                  </a:cubicBezTo>
                  <a:cubicBezTo>
                    <a:pt x="63" y="157"/>
                    <a:pt x="63" y="157"/>
                    <a:pt x="63" y="157"/>
                  </a:cubicBezTo>
                  <a:cubicBezTo>
                    <a:pt x="60" y="160"/>
                    <a:pt x="59" y="163"/>
                    <a:pt x="59" y="166"/>
                  </a:cubicBezTo>
                  <a:cubicBezTo>
                    <a:pt x="59" y="169"/>
                    <a:pt x="60" y="173"/>
                    <a:pt x="63" y="175"/>
                  </a:cubicBezTo>
                  <a:cubicBezTo>
                    <a:pt x="67" y="180"/>
                    <a:pt x="76" y="180"/>
                    <a:pt x="80" y="175"/>
                  </a:cubicBezTo>
                  <a:cubicBezTo>
                    <a:pt x="153" y="103"/>
                    <a:pt x="153" y="103"/>
                    <a:pt x="153" y="103"/>
                  </a:cubicBezTo>
                  <a:cubicBezTo>
                    <a:pt x="154" y="102"/>
                    <a:pt x="155" y="101"/>
                    <a:pt x="156" y="100"/>
                  </a:cubicBezTo>
                  <a:cubicBezTo>
                    <a:pt x="157" y="98"/>
                    <a:pt x="161" y="95"/>
                    <a:pt x="161" y="94"/>
                  </a:cubicBezTo>
                  <a:cubicBezTo>
                    <a:pt x="161" y="92"/>
                    <a:pt x="157" y="89"/>
                    <a:pt x="156" y="88"/>
                  </a:cubicBezTo>
                  <a:cubicBezTo>
                    <a:pt x="155" y="87"/>
                    <a:pt x="154" y="86"/>
                    <a:pt x="153" y="85"/>
                  </a:cubicBezTo>
                  <a:cubicBezTo>
                    <a:pt x="80" y="12"/>
                    <a:pt x="80" y="12"/>
                    <a:pt x="80" y="12"/>
                  </a:cubicBezTo>
                  <a:cubicBezTo>
                    <a:pt x="76" y="8"/>
                    <a:pt x="67" y="8"/>
                    <a:pt x="63" y="12"/>
                  </a:cubicBezTo>
                  <a:cubicBezTo>
                    <a:pt x="60" y="15"/>
                    <a:pt x="59" y="18"/>
                    <a:pt x="59" y="21"/>
                  </a:cubicBezTo>
                  <a:cubicBezTo>
                    <a:pt x="59" y="25"/>
                    <a:pt x="60" y="28"/>
                    <a:pt x="63" y="30"/>
                  </a:cubicBezTo>
                  <a:cubicBezTo>
                    <a:pt x="113" y="81"/>
                    <a:pt x="113" y="81"/>
                    <a:pt x="113" y="81"/>
                  </a:cubicBezTo>
                  <a:lnTo>
                    <a:pt x="22" y="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2" name="Freeform 11"/>
            <p:cNvSpPr>
              <a:spLocks noEditPoints="1"/>
            </p:cNvSpPr>
            <p:nvPr userDrawn="1"/>
          </p:nvSpPr>
          <p:spPr bwMode="auto">
            <a:xfrm>
              <a:off x="8730417" y="1630562"/>
              <a:ext cx="88523" cy="89399"/>
            </a:xfrm>
            <a:custGeom>
              <a:avLst/>
              <a:gdLst>
                <a:gd name="T0" fmla="*/ 21 w 43"/>
                <a:gd name="T1" fmla="*/ 43 h 43"/>
                <a:gd name="T2" fmla="*/ 0 w 43"/>
                <a:gd name="T3" fmla="*/ 22 h 43"/>
                <a:gd name="T4" fmla="*/ 21 w 43"/>
                <a:gd name="T5" fmla="*/ 0 h 43"/>
                <a:gd name="T6" fmla="*/ 43 w 43"/>
                <a:gd name="T7" fmla="*/ 22 h 43"/>
                <a:gd name="T8" fmla="*/ 21 w 43"/>
                <a:gd name="T9" fmla="*/ 43 h 43"/>
                <a:gd name="T10" fmla="*/ 21 w 43"/>
                <a:gd name="T11" fmla="*/ 9 h 43"/>
                <a:gd name="T12" fmla="*/ 9 w 43"/>
                <a:gd name="T13" fmla="*/ 22 h 43"/>
                <a:gd name="T14" fmla="*/ 21 w 43"/>
                <a:gd name="T15" fmla="*/ 34 h 43"/>
                <a:gd name="T16" fmla="*/ 34 w 43"/>
                <a:gd name="T17" fmla="*/ 22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4"/>
                    <a:pt x="0" y="22"/>
                  </a:cubicBezTo>
                  <a:cubicBezTo>
                    <a:pt x="0" y="10"/>
                    <a:pt x="9" y="0"/>
                    <a:pt x="21" y="0"/>
                  </a:cubicBezTo>
                  <a:cubicBezTo>
                    <a:pt x="33" y="0"/>
                    <a:pt x="43" y="10"/>
                    <a:pt x="43" y="22"/>
                  </a:cubicBezTo>
                  <a:cubicBezTo>
                    <a:pt x="43" y="34"/>
                    <a:pt x="33" y="43"/>
                    <a:pt x="21" y="43"/>
                  </a:cubicBezTo>
                  <a:close/>
                  <a:moveTo>
                    <a:pt x="21" y="9"/>
                  </a:moveTo>
                  <a:cubicBezTo>
                    <a:pt x="14" y="9"/>
                    <a:pt x="9" y="15"/>
                    <a:pt x="9" y="22"/>
                  </a:cubicBezTo>
                  <a:cubicBezTo>
                    <a:pt x="9" y="29"/>
                    <a:pt x="14" y="34"/>
                    <a:pt x="21" y="34"/>
                  </a:cubicBezTo>
                  <a:cubicBezTo>
                    <a:pt x="28" y="34"/>
                    <a:pt x="34" y="29"/>
                    <a:pt x="34" y="22"/>
                  </a:cubicBezTo>
                  <a:cubicBezTo>
                    <a:pt x="34" y="15"/>
                    <a:pt x="28" y="9"/>
                    <a:pt x="21"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63" name="Combined White Arrows"/>
          <p:cNvGrpSpPr/>
          <p:nvPr userDrawn="1"/>
        </p:nvGrpSpPr>
        <p:grpSpPr>
          <a:xfrm>
            <a:off x="8278982" y="4901343"/>
            <a:ext cx="1998859" cy="973653"/>
            <a:chOff x="8578788" y="1196393"/>
            <a:chExt cx="1998338" cy="973653"/>
          </a:xfrm>
        </p:grpSpPr>
        <p:grpSp>
          <p:nvGrpSpPr>
            <p:cNvPr id="65" name="Big White Arrow"/>
            <p:cNvGrpSpPr/>
            <p:nvPr userDrawn="1"/>
          </p:nvGrpSpPr>
          <p:grpSpPr>
            <a:xfrm>
              <a:off x="8578788" y="1196393"/>
              <a:ext cx="1998338" cy="386520"/>
              <a:chOff x="8578788" y="1227389"/>
              <a:chExt cx="1998338" cy="386520"/>
            </a:xfrm>
          </p:grpSpPr>
          <p:sp>
            <p:nvSpPr>
              <p:cNvPr id="70" name="Freeform 6"/>
              <p:cNvSpPr>
                <a:spLocks noEditPoints="1"/>
              </p:cNvSpPr>
              <p:nvPr userDrawn="1"/>
            </p:nvSpPr>
            <p:spPr bwMode="auto">
              <a:xfrm>
                <a:off x="8680458" y="1376388"/>
                <a:ext cx="184057" cy="88523"/>
              </a:xfrm>
              <a:custGeom>
                <a:avLst/>
                <a:gdLst>
                  <a:gd name="T0" fmla="*/ 68 w 89"/>
                  <a:gd name="T1" fmla="*/ 43 h 43"/>
                  <a:gd name="T2" fmla="*/ 22 w 89"/>
                  <a:gd name="T3" fmla="*/ 43 h 43"/>
                  <a:gd name="T4" fmla="*/ 0 w 89"/>
                  <a:gd name="T5" fmla="*/ 21 h 43"/>
                  <a:gd name="T6" fmla="*/ 22 w 89"/>
                  <a:gd name="T7" fmla="*/ 0 h 43"/>
                  <a:gd name="T8" fmla="*/ 68 w 89"/>
                  <a:gd name="T9" fmla="*/ 0 h 43"/>
                  <a:gd name="T10" fmla="*/ 89 w 89"/>
                  <a:gd name="T11" fmla="*/ 21 h 43"/>
                  <a:gd name="T12" fmla="*/ 68 w 89"/>
                  <a:gd name="T13" fmla="*/ 43 h 43"/>
                  <a:gd name="T14" fmla="*/ 22 w 89"/>
                  <a:gd name="T15" fmla="*/ 9 h 43"/>
                  <a:gd name="T16" fmla="*/ 9 w 89"/>
                  <a:gd name="T17" fmla="*/ 21 h 43"/>
                  <a:gd name="T18" fmla="*/ 22 w 89"/>
                  <a:gd name="T19" fmla="*/ 34 h 43"/>
                  <a:gd name="T20" fmla="*/ 68 w 89"/>
                  <a:gd name="T21" fmla="*/ 34 h 43"/>
                  <a:gd name="T22" fmla="*/ 80 w 89"/>
                  <a:gd name="T23" fmla="*/ 21 h 43"/>
                  <a:gd name="T24" fmla="*/ 68 w 89"/>
                  <a:gd name="T25" fmla="*/ 9 h 43"/>
                  <a:gd name="T26" fmla="*/ 22 w 89"/>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43">
                    <a:moveTo>
                      <a:pt x="68" y="43"/>
                    </a:moveTo>
                    <a:cubicBezTo>
                      <a:pt x="22" y="43"/>
                      <a:pt x="22" y="43"/>
                      <a:pt x="22" y="43"/>
                    </a:cubicBezTo>
                    <a:cubicBezTo>
                      <a:pt x="10" y="43"/>
                      <a:pt x="0" y="33"/>
                      <a:pt x="0" y="21"/>
                    </a:cubicBezTo>
                    <a:cubicBezTo>
                      <a:pt x="0" y="10"/>
                      <a:pt x="10" y="0"/>
                      <a:pt x="22" y="0"/>
                    </a:cubicBezTo>
                    <a:cubicBezTo>
                      <a:pt x="68" y="0"/>
                      <a:pt x="68" y="0"/>
                      <a:pt x="68" y="0"/>
                    </a:cubicBezTo>
                    <a:cubicBezTo>
                      <a:pt x="80" y="0"/>
                      <a:pt x="89" y="10"/>
                      <a:pt x="89" y="21"/>
                    </a:cubicBezTo>
                    <a:cubicBezTo>
                      <a:pt x="89" y="33"/>
                      <a:pt x="80" y="43"/>
                      <a:pt x="68" y="43"/>
                    </a:cubicBezTo>
                    <a:close/>
                    <a:moveTo>
                      <a:pt x="22" y="9"/>
                    </a:moveTo>
                    <a:cubicBezTo>
                      <a:pt x="15" y="9"/>
                      <a:pt x="9" y="14"/>
                      <a:pt x="9" y="21"/>
                    </a:cubicBezTo>
                    <a:cubicBezTo>
                      <a:pt x="9" y="28"/>
                      <a:pt x="15" y="34"/>
                      <a:pt x="22" y="34"/>
                    </a:cubicBezTo>
                    <a:cubicBezTo>
                      <a:pt x="68" y="34"/>
                      <a:pt x="68" y="34"/>
                      <a:pt x="68" y="34"/>
                    </a:cubicBezTo>
                    <a:cubicBezTo>
                      <a:pt x="75" y="34"/>
                      <a:pt x="80" y="28"/>
                      <a:pt x="80" y="21"/>
                    </a:cubicBezTo>
                    <a:cubicBezTo>
                      <a:pt x="80" y="14"/>
                      <a:pt x="75" y="9"/>
                      <a:pt x="68" y="9"/>
                    </a:cubicBezTo>
                    <a:lnTo>
                      <a:pt x="2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1" name="Freeform 7"/>
              <p:cNvSpPr>
                <a:spLocks noEditPoints="1"/>
              </p:cNvSpPr>
              <p:nvPr userDrawn="1"/>
            </p:nvSpPr>
            <p:spPr bwMode="auto">
              <a:xfrm>
                <a:off x="8883797" y="1227389"/>
                <a:ext cx="1693329" cy="386520"/>
              </a:xfrm>
              <a:custGeom>
                <a:avLst/>
                <a:gdLst>
                  <a:gd name="T0" fmla="*/ 719 w 818"/>
                  <a:gd name="T1" fmla="*/ 187 h 187"/>
                  <a:gd name="T2" fmla="*/ 704 w 818"/>
                  <a:gd name="T3" fmla="*/ 181 h 187"/>
                  <a:gd name="T4" fmla="*/ 704 w 818"/>
                  <a:gd name="T5" fmla="*/ 151 h 187"/>
                  <a:gd name="T6" fmla="*/ 740 w 818"/>
                  <a:gd name="T7" fmla="*/ 115 h 187"/>
                  <a:gd name="T8" fmla="*/ 22 w 818"/>
                  <a:gd name="T9" fmla="*/ 115 h 187"/>
                  <a:gd name="T10" fmla="*/ 0 w 818"/>
                  <a:gd name="T11" fmla="*/ 93 h 187"/>
                  <a:gd name="T12" fmla="*/ 22 w 818"/>
                  <a:gd name="T13" fmla="*/ 72 h 187"/>
                  <a:gd name="T14" fmla="*/ 740 w 818"/>
                  <a:gd name="T15" fmla="*/ 72 h 187"/>
                  <a:gd name="T16" fmla="*/ 704 w 818"/>
                  <a:gd name="T17" fmla="*/ 36 h 187"/>
                  <a:gd name="T18" fmla="*/ 698 w 818"/>
                  <a:gd name="T19" fmla="*/ 21 h 187"/>
                  <a:gd name="T20" fmla="*/ 704 w 818"/>
                  <a:gd name="T21" fmla="*/ 6 h 187"/>
                  <a:gd name="T22" fmla="*/ 719 w 818"/>
                  <a:gd name="T23" fmla="*/ 0 h 187"/>
                  <a:gd name="T24" fmla="*/ 735 w 818"/>
                  <a:gd name="T25" fmla="*/ 6 h 187"/>
                  <a:gd name="T26" fmla="*/ 807 w 818"/>
                  <a:gd name="T27" fmla="*/ 78 h 187"/>
                  <a:gd name="T28" fmla="*/ 810 w 818"/>
                  <a:gd name="T29" fmla="*/ 81 h 187"/>
                  <a:gd name="T30" fmla="*/ 818 w 818"/>
                  <a:gd name="T31" fmla="*/ 93 h 187"/>
                  <a:gd name="T32" fmla="*/ 810 w 818"/>
                  <a:gd name="T33" fmla="*/ 106 h 187"/>
                  <a:gd name="T34" fmla="*/ 807 w 818"/>
                  <a:gd name="T35" fmla="*/ 109 h 187"/>
                  <a:gd name="T36" fmla="*/ 735 w 818"/>
                  <a:gd name="T37" fmla="*/ 181 h 187"/>
                  <a:gd name="T38" fmla="*/ 719 w 818"/>
                  <a:gd name="T39" fmla="*/ 187 h 187"/>
                  <a:gd name="T40" fmla="*/ 22 w 818"/>
                  <a:gd name="T41" fmla="*/ 81 h 187"/>
                  <a:gd name="T42" fmla="*/ 9 w 818"/>
                  <a:gd name="T43" fmla="*/ 93 h 187"/>
                  <a:gd name="T44" fmla="*/ 22 w 818"/>
                  <a:gd name="T45" fmla="*/ 106 h 187"/>
                  <a:gd name="T46" fmla="*/ 761 w 818"/>
                  <a:gd name="T47" fmla="*/ 106 h 187"/>
                  <a:gd name="T48" fmla="*/ 710 w 818"/>
                  <a:gd name="T49" fmla="*/ 157 h 187"/>
                  <a:gd name="T50" fmla="*/ 710 w 818"/>
                  <a:gd name="T51" fmla="*/ 175 h 187"/>
                  <a:gd name="T52" fmla="*/ 728 w 818"/>
                  <a:gd name="T53" fmla="*/ 175 h 187"/>
                  <a:gd name="T54" fmla="*/ 801 w 818"/>
                  <a:gd name="T55" fmla="*/ 102 h 187"/>
                  <a:gd name="T56" fmla="*/ 804 w 818"/>
                  <a:gd name="T57" fmla="*/ 100 h 187"/>
                  <a:gd name="T58" fmla="*/ 809 w 818"/>
                  <a:gd name="T59" fmla="*/ 93 h 187"/>
                  <a:gd name="T60" fmla="*/ 804 w 818"/>
                  <a:gd name="T61" fmla="*/ 87 h 187"/>
                  <a:gd name="T62" fmla="*/ 801 w 818"/>
                  <a:gd name="T63" fmla="*/ 85 h 187"/>
                  <a:gd name="T64" fmla="*/ 728 w 818"/>
                  <a:gd name="T65" fmla="*/ 12 h 187"/>
                  <a:gd name="T66" fmla="*/ 710 w 818"/>
                  <a:gd name="T67" fmla="*/ 12 h 187"/>
                  <a:gd name="T68" fmla="*/ 707 w 818"/>
                  <a:gd name="T69" fmla="*/ 21 h 187"/>
                  <a:gd name="T70" fmla="*/ 710 w 818"/>
                  <a:gd name="T71" fmla="*/ 30 h 187"/>
                  <a:gd name="T72" fmla="*/ 761 w 818"/>
                  <a:gd name="T73" fmla="*/ 81 h 187"/>
                  <a:gd name="T74" fmla="*/ 22 w 818"/>
                  <a:gd name="T75" fmla="*/ 8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8" h="187">
                    <a:moveTo>
                      <a:pt x="719" y="187"/>
                    </a:moveTo>
                    <a:cubicBezTo>
                      <a:pt x="714" y="187"/>
                      <a:pt x="708" y="185"/>
                      <a:pt x="704" y="181"/>
                    </a:cubicBezTo>
                    <a:cubicBezTo>
                      <a:pt x="696" y="173"/>
                      <a:pt x="696" y="159"/>
                      <a:pt x="704" y="151"/>
                    </a:cubicBezTo>
                    <a:cubicBezTo>
                      <a:pt x="740" y="115"/>
                      <a:pt x="740" y="115"/>
                      <a:pt x="740" y="115"/>
                    </a:cubicBezTo>
                    <a:cubicBezTo>
                      <a:pt x="22" y="115"/>
                      <a:pt x="22" y="115"/>
                      <a:pt x="22" y="115"/>
                    </a:cubicBezTo>
                    <a:cubicBezTo>
                      <a:pt x="12" y="115"/>
                      <a:pt x="0" y="109"/>
                      <a:pt x="0" y="93"/>
                    </a:cubicBezTo>
                    <a:cubicBezTo>
                      <a:pt x="0" y="78"/>
                      <a:pt x="12" y="72"/>
                      <a:pt x="22" y="72"/>
                    </a:cubicBezTo>
                    <a:cubicBezTo>
                      <a:pt x="740" y="72"/>
                      <a:pt x="740" y="72"/>
                      <a:pt x="740" y="72"/>
                    </a:cubicBezTo>
                    <a:cubicBezTo>
                      <a:pt x="704" y="36"/>
                      <a:pt x="704" y="36"/>
                      <a:pt x="704" y="36"/>
                    </a:cubicBezTo>
                    <a:cubicBezTo>
                      <a:pt x="700" y="32"/>
                      <a:pt x="698" y="27"/>
                      <a:pt x="698" y="21"/>
                    </a:cubicBezTo>
                    <a:cubicBezTo>
                      <a:pt x="698" y="15"/>
                      <a:pt x="700" y="10"/>
                      <a:pt x="704" y="6"/>
                    </a:cubicBezTo>
                    <a:cubicBezTo>
                      <a:pt x="708" y="2"/>
                      <a:pt x="714" y="0"/>
                      <a:pt x="719" y="0"/>
                    </a:cubicBezTo>
                    <a:cubicBezTo>
                      <a:pt x="725" y="0"/>
                      <a:pt x="731" y="2"/>
                      <a:pt x="735" y="6"/>
                    </a:cubicBezTo>
                    <a:cubicBezTo>
                      <a:pt x="807" y="78"/>
                      <a:pt x="807" y="78"/>
                      <a:pt x="807" y="78"/>
                    </a:cubicBezTo>
                    <a:cubicBezTo>
                      <a:pt x="808" y="79"/>
                      <a:pt x="809" y="80"/>
                      <a:pt x="810" y="81"/>
                    </a:cubicBezTo>
                    <a:cubicBezTo>
                      <a:pt x="814" y="84"/>
                      <a:pt x="818" y="88"/>
                      <a:pt x="818" y="93"/>
                    </a:cubicBezTo>
                    <a:cubicBezTo>
                      <a:pt x="818" y="99"/>
                      <a:pt x="813" y="103"/>
                      <a:pt x="810" y="106"/>
                    </a:cubicBezTo>
                    <a:cubicBezTo>
                      <a:pt x="809" y="107"/>
                      <a:pt x="808" y="108"/>
                      <a:pt x="807" y="109"/>
                    </a:cubicBezTo>
                    <a:cubicBezTo>
                      <a:pt x="735" y="181"/>
                      <a:pt x="735" y="181"/>
                      <a:pt x="735" y="181"/>
                    </a:cubicBezTo>
                    <a:cubicBezTo>
                      <a:pt x="731" y="185"/>
                      <a:pt x="725" y="187"/>
                      <a:pt x="719" y="187"/>
                    </a:cubicBezTo>
                    <a:close/>
                    <a:moveTo>
                      <a:pt x="22" y="81"/>
                    </a:moveTo>
                    <a:cubicBezTo>
                      <a:pt x="17" y="81"/>
                      <a:pt x="9" y="82"/>
                      <a:pt x="9" y="93"/>
                    </a:cubicBezTo>
                    <a:cubicBezTo>
                      <a:pt x="9" y="104"/>
                      <a:pt x="17" y="106"/>
                      <a:pt x="22" y="106"/>
                    </a:cubicBezTo>
                    <a:cubicBezTo>
                      <a:pt x="761" y="106"/>
                      <a:pt x="761" y="106"/>
                      <a:pt x="761" y="106"/>
                    </a:cubicBezTo>
                    <a:cubicBezTo>
                      <a:pt x="710" y="157"/>
                      <a:pt x="710" y="157"/>
                      <a:pt x="710" y="157"/>
                    </a:cubicBezTo>
                    <a:cubicBezTo>
                      <a:pt x="706" y="162"/>
                      <a:pt x="706" y="170"/>
                      <a:pt x="710" y="175"/>
                    </a:cubicBezTo>
                    <a:cubicBezTo>
                      <a:pt x="715" y="179"/>
                      <a:pt x="724" y="179"/>
                      <a:pt x="728" y="175"/>
                    </a:cubicBezTo>
                    <a:cubicBezTo>
                      <a:pt x="801" y="102"/>
                      <a:pt x="801" y="102"/>
                      <a:pt x="801" y="102"/>
                    </a:cubicBezTo>
                    <a:cubicBezTo>
                      <a:pt x="802" y="101"/>
                      <a:pt x="803" y="101"/>
                      <a:pt x="804" y="100"/>
                    </a:cubicBezTo>
                    <a:cubicBezTo>
                      <a:pt x="805" y="98"/>
                      <a:pt x="809" y="95"/>
                      <a:pt x="809" y="93"/>
                    </a:cubicBezTo>
                    <a:cubicBezTo>
                      <a:pt x="809" y="92"/>
                      <a:pt x="805" y="89"/>
                      <a:pt x="804" y="87"/>
                    </a:cubicBezTo>
                    <a:cubicBezTo>
                      <a:pt x="803" y="86"/>
                      <a:pt x="802" y="85"/>
                      <a:pt x="801" y="85"/>
                    </a:cubicBezTo>
                    <a:cubicBezTo>
                      <a:pt x="728" y="12"/>
                      <a:pt x="728" y="12"/>
                      <a:pt x="728" y="12"/>
                    </a:cubicBezTo>
                    <a:cubicBezTo>
                      <a:pt x="724" y="7"/>
                      <a:pt x="715" y="7"/>
                      <a:pt x="710" y="12"/>
                    </a:cubicBezTo>
                    <a:cubicBezTo>
                      <a:pt x="708" y="15"/>
                      <a:pt x="707" y="18"/>
                      <a:pt x="707" y="21"/>
                    </a:cubicBezTo>
                    <a:cubicBezTo>
                      <a:pt x="707" y="24"/>
                      <a:pt x="708" y="28"/>
                      <a:pt x="710" y="30"/>
                    </a:cubicBezTo>
                    <a:cubicBezTo>
                      <a:pt x="761" y="81"/>
                      <a:pt x="761" y="81"/>
                      <a:pt x="761"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2" name="Freeform 8"/>
              <p:cNvSpPr>
                <a:spLocks noEditPoints="1"/>
              </p:cNvSpPr>
              <p:nvPr userDrawn="1"/>
            </p:nvSpPr>
            <p:spPr bwMode="auto">
              <a:xfrm>
                <a:off x="8578788" y="1376388"/>
                <a:ext cx="89399" cy="88523"/>
              </a:xfrm>
              <a:custGeom>
                <a:avLst/>
                <a:gdLst>
                  <a:gd name="T0" fmla="*/ 21 w 43"/>
                  <a:gd name="T1" fmla="*/ 43 h 43"/>
                  <a:gd name="T2" fmla="*/ 0 w 43"/>
                  <a:gd name="T3" fmla="*/ 21 h 43"/>
                  <a:gd name="T4" fmla="*/ 21 w 43"/>
                  <a:gd name="T5" fmla="*/ 0 h 43"/>
                  <a:gd name="T6" fmla="*/ 43 w 43"/>
                  <a:gd name="T7" fmla="*/ 21 h 43"/>
                  <a:gd name="T8" fmla="*/ 21 w 43"/>
                  <a:gd name="T9" fmla="*/ 43 h 43"/>
                  <a:gd name="T10" fmla="*/ 21 w 43"/>
                  <a:gd name="T11" fmla="*/ 9 h 43"/>
                  <a:gd name="T12" fmla="*/ 9 w 43"/>
                  <a:gd name="T13" fmla="*/ 21 h 43"/>
                  <a:gd name="T14" fmla="*/ 21 w 43"/>
                  <a:gd name="T15" fmla="*/ 34 h 43"/>
                  <a:gd name="T16" fmla="*/ 34 w 43"/>
                  <a:gd name="T17" fmla="*/ 21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3"/>
                      <a:pt x="0" y="21"/>
                    </a:cubicBezTo>
                    <a:cubicBezTo>
                      <a:pt x="0" y="10"/>
                      <a:pt x="9" y="0"/>
                      <a:pt x="21" y="0"/>
                    </a:cubicBezTo>
                    <a:cubicBezTo>
                      <a:pt x="33" y="0"/>
                      <a:pt x="43" y="10"/>
                      <a:pt x="43" y="21"/>
                    </a:cubicBezTo>
                    <a:cubicBezTo>
                      <a:pt x="43" y="33"/>
                      <a:pt x="33" y="43"/>
                      <a:pt x="21" y="43"/>
                    </a:cubicBezTo>
                    <a:close/>
                    <a:moveTo>
                      <a:pt x="21" y="9"/>
                    </a:moveTo>
                    <a:cubicBezTo>
                      <a:pt x="14" y="9"/>
                      <a:pt x="9" y="14"/>
                      <a:pt x="9" y="21"/>
                    </a:cubicBezTo>
                    <a:cubicBezTo>
                      <a:pt x="9" y="28"/>
                      <a:pt x="14" y="34"/>
                      <a:pt x="21" y="34"/>
                    </a:cubicBezTo>
                    <a:cubicBezTo>
                      <a:pt x="28" y="34"/>
                      <a:pt x="34" y="28"/>
                      <a:pt x="34" y="21"/>
                    </a:cubicBezTo>
                    <a:cubicBezTo>
                      <a:pt x="34" y="14"/>
                      <a:pt x="28" y="9"/>
                      <a:pt x="2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nvGrpSpPr>
            <p:cNvPr id="66" name="Small White Arrow"/>
            <p:cNvGrpSpPr/>
            <p:nvPr userDrawn="1"/>
          </p:nvGrpSpPr>
          <p:grpSpPr>
            <a:xfrm>
              <a:off x="9024032" y="1780020"/>
              <a:ext cx="1054386" cy="390026"/>
              <a:chOff x="9024032" y="1756773"/>
              <a:chExt cx="1054386" cy="390026"/>
            </a:xfrm>
          </p:grpSpPr>
          <p:sp>
            <p:nvSpPr>
              <p:cNvPr id="67" name="Freeform 12"/>
              <p:cNvSpPr>
                <a:spLocks noEditPoints="1"/>
              </p:cNvSpPr>
              <p:nvPr userDrawn="1"/>
            </p:nvSpPr>
            <p:spPr bwMode="auto">
              <a:xfrm>
                <a:off x="9127454" y="1906648"/>
                <a:ext cx="331303" cy="91152"/>
              </a:xfrm>
              <a:custGeom>
                <a:avLst/>
                <a:gdLst>
                  <a:gd name="T0" fmla="*/ 138 w 160"/>
                  <a:gd name="T1" fmla="*/ 44 h 44"/>
                  <a:gd name="T2" fmla="*/ 21 w 160"/>
                  <a:gd name="T3" fmla="*/ 44 h 44"/>
                  <a:gd name="T4" fmla="*/ 0 w 160"/>
                  <a:gd name="T5" fmla="*/ 22 h 44"/>
                  <a:gd name="T6" fmla="*/ 21 w 160"/>
                  <a:gd name="T7" fmla="*/ 0 h 44"/>
                  <a:gd name="T8" fmla="*/ 138 w 160"/>
                  <a:gd name="T9" fmla="*/ 0 h 44"/>
                  <a:gd name="T10" fmla="*/ 160 w 160"/>
                  <a:gd name="T11" fmla="*/ 22 h 44"/>
                  <a:gd name="T12" fmla="*/ 138 w 160"/>
                  <a:gd name="T13" fmla="*/ 44 h 44"/>
                  <a:gd name="T14" fmla="*/ 21 w 160"/>
                  <a:gd name="T15" fmla="*/ 9 h 44"/>
                  <a:gd name="T16" fmla="*/ 9 w 160"/>
                  <a:gd name="T17" fmla="*/ 22 h 44"/>
                  <a:gd name="T18" fmla="*/ 21 w 160"/>
                  <a:gd name="T19" fmla="*/ 35 h 44"/>
                  <a:gd name="T20" fmla="*/ 138 w 160"/>
                  <a:gd name="T21" fmla="*/ 35 h 44"/>
                  <a:gd name="T22" fmla="*/ 151 w 160"/>
                  <a:gd name="T23" fmla="*/ 22 h 44"/>
                  <a:gd name="T24" fmla="*/ 138 w 160"/>
                  <a:gd name="T25" fmla="*/ 9 h 44"/>
                  <a:gd name="T26" fmla="*/ 21 w 160"/>
                  <a:gd name="T2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44">
                    <a:moveTo>
                      <a:pt x="138" y="44"/>
                    </a:moveTo>
                    <a:cubicBezTo>
                      <a:pt x="21" y="44"/>
                      <a:pt x="21" y="44"/>
                      <a:pt x="21" y="44"/>
                    </a:cubicBezTo>
                    <a:cubicBezTo>
                      <a:pt x="9" y="44"/>
                      <a:pt x="0" y="34"/>
                      <a:pt x="0" y="22"/>
                    </a:cubicBezTo>
                    <a:cubicBezTo>
                      <a:pt x="0" y="10"/>
                      <a:pt x="9" y="0"/>
                      <a:pt x="21" y="0"/>
                    </a:cubicBezTo>
                    <a:cubicBezTo>
                      <a:pt x="138" y="0"/>
                      <a:pt x="138" y="0"/>
                      <a:pt x="138" y="0"/>
                    </a:cubicBezTo>
                    <a:cubicBezTo>
                      <a:pt x="150" y="0"/>
                      <a:pt x="160" y="10"/>
                      <a:pt x="160" y="22"/>
                    </a:cubicBezTo>
                    <a:cubicBezTo>
                      <a:pt x="160" y="34"/>
                      <a:pt x="150" y="44"/>
                      <a:pt x="138" y="44"/>
                    </a:cubicBezTo>
                    <a:close/>
                    <a:moveTo>
                      <a:pt x="21" y="9"/>
                    </a:moveTo>
                    <a:cubicBezTo>
                      <a:pt x="14" y="9"/>
                      <a:pt x="9" y="15"/>
                      <a:pt x="9" y="22"/>
                    </a:cubicBezTo>
                    <a:cubicBezTo>
                      <a:pt x="9" y="29"/>
                      <a:pt x="14" y="35"/>
                      <a:pt x="21" y="35"/>
                    </a:cubicBezTo>
                    <a:cubicBezTo>
                      <a:pt x="138" y="35"/>
                      <a:pt x="138" y="35"/>
                      <a:pt x="138" y="35"/>
                    </a:cubicBezTo>
                    <a:cubicBezTo>
                      <a:pt x="145" y="35"/>
                      <a:pt x="151" y="29"/>
                      <a:pt x="151" y="22"/>
                    </a:cubicBezTo>
                    <a:cubicBezTo>
                      <a:pt x="151" y="15"/>
                      <a:pt x="145" y="9"/>
                      <a:pt x="138" y="9"/>
                    </a:cubicBezTo>
                    <a:lnTo>
                      <a:pt x="2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8" name="Freeform 13"/>
              <p:cNvSpPr>
                <a:spLocks noEditPoints="1"/>
              </p:cNvSpPr>
              <p:nvPr userDrawn="1"/>
            </p:nvSpPr>
            <p:spPr bwMode="auto">
              <a:xfrm>
                <a:off x="9475411" y="1756773"/>
                <a:ext cx="603007" cy="390026"/>
              </a:xfrm>
              <a:custGeom>
                <a:avLst/>
                <a:gdLst>
                  <a:gd name="T0" fmla="*/ 192 w 291"/>
                  <a:gd name="T1" fmla="*/ 188 h 188"/>
                  <a:gd name="T2" fmla="*/ 177 w 291"/>
                  <a:gd name="T3" fmla="*/ 182 h 188"/>
                  <a:gd name="T4" fmla="*/ 171 w 291"/>
                  <a:gd name="T5" fmla="*/ 166 h 188"/>
                  <a:gd name="T6" fmla="*/ 177 w 291"/>
                  <a:gd name="T7" fmla="*/ 151 h 188"/>
                  <a:gd name="T8" fmla="*/ 213 w 291"/>
                  <a:gd name="T9" fmla="*/ 116 h 188"/>
                  <a:gd name="T10" fmla="*/ 22 w 291"/>
                  <a:gd name="T11" fmla="*/ 116 h 188"/>
                  <a:gd name="T12" fmla="*/ 0 w 291"/>
                  <a:gd name="T13" fmla="*/ 94 h 188"/>
                  <a:gd name="T14" fmla="*/ 22 w 291"/>
                  <a:gd name="T15" fmla="*/ 73 h 188"/>
                  <a:gd name="T16" fmla="*/ 213 w 291"/>
                  <a:gd name="T17" fmla="*/ 73 h 188"/>
                  <a:gd name="T18" fmla="*/ 177 w 291"/>
                  <a:gd name="T19" fmla="*/ 37 h 188"/>
                  <a:gd name="T20" fmla="*/ 171 w 291"/>
                  <a:gd name="T21" fmla="*/ 22 h 188"/>
                  <a:gd name="T22" fmla="*/ 177 w 291"/>
                  <a:gd name="T23" fmla="*/ 6 h 188"/>
                  <a:gd name="T24" fmla="*/ 192 w 291"/>
                  <a:gd name="T25" fmla="*/ 0 h 188"/>
                  <a:gd name="T26" fmla="*/ 207 w 291"/>
                  <a:gd name="T27" fmla="*/ 6 h 188"/>
                  <a:gd name="T28" fmla="*/ 280 w 291"/>
                  <a:gd name="T29" fmla="*/ 79 h 188"/>
                  <a:gd name="T30" fmla="*/ 282 w 291"/>
                  <a:gd name="T31" fmla="*/ 81 h 188"/>
                  <a:gd name="T32" fmla="*/ 291 w 291"/>
                  <a:gd name="T33" fmla="*/ 94 h 188"/>
                  <a:gd name="T34" fmla="*/ 282 w 291"/>
                  <a:gd name="T35" fmla="*/ 107 h 188"/>
                  <a:gd name="T36" fmla="*/ 280 w 291"/>
                  <a:gd name="T37" fmla="*/ 109 h 188"/>
                  <a:gd name="T38" fmla="*/ 207 w 291"/>
                  <a:gd name="T39" fmla="*/ 182 h 188"/>
                  <a:gd name="T40" fmla="*/ 192 w 291"/>
                  <a:gd name="T41" fmla="*/ 188 h 188"/>
                  <a:gd name="T42" fmla="*/ 22 w 291"/>
                  <a:gd name="T43" fmla="*/ 81 h 188"/>
                  <a:gd name="T44" fmla="*/ 9 w 291"/>
                  <a:gd name="T45" fmla="*/ 94 h 188"/>
                  <a:gd name="T46" fmla="*/ 22 w 291"/>
                  <a:gd name="T47" fmla="*/ 107 h 188"/>
                  <a:gd name="T48" fmla="*/ 234 w 291"/>
                  <a:gd name="T49" fmla="*/ 107 h 188"/>
                  <a:gd name="T50" fmla="*/ 183 w 291"/>
                  <a:gd name="T51" fmla="*/ 158 h 188"/>
                  <a:gd name="T52" fmla="*/ 180 w 291"/>
                  <a:gd name="T53" fmla="*/ 166 h 188"/>
                  <a:gd name="T54" fmla="*/ 183 w 291"/>
                  <a:gd name="T55" fmla="*/ 175 h 188"/>
                  <a:gd name="T56" fmla="*/ 201 w 291"/>
                  <a:gd name="T57" fmla="*/ 175 h 188"/>
                  <a:gd name="T58" fmla="*/ 273 w 291"/>
                  <a:gd name="T59" fmla="*/ 103 h 188"/>
                  <a:gd name="T60" fmla="*/ 276 w 291"/>
                  <a:gd name="T61" fmla="*/ 100 h 188"/>
                  <a:gd name="T62" fmla="*/ 282 w 291"/>
                  <a:gd name="T63" fmla="*/ 94 h 188"/>
                  <a:gd name="T64" fmla="*/ 276 w 291"/>
                  <a:gd name="T65" fmla="*/ 88 h 188"/>
                  <a:gd name="T66" fmla="*/ 273 w 291"/>
                  <a:gd name="T67" fmla="*/ 85 h 188"/>
                  <a:gd name="T68" fmla="*/ 201 w 291"/>
                  <a:gd name="T69" fmla="*/ 13 h 188"/>
                  <a:gd name="T70" fmla="*/ 183 w 291"/>
                  <a:gd name="T71" fmla="*/ 13 h 188"/>
                  <a:gd name="T72" fmla="*/ 180 w 291"/>
                  <a:gd name="T73" fmla="*/ 22 h 188"/>
                  <a:gd name="T74" fmla="*/ 183 w 291"/>
                  <a:gd name="T75" fmla="*/ 31 h 188"/>
                  <a:gd name="T76" fmla="*/ 234 w 291"/>
                  <a:gd name="T77" fmla="*/ 81 h 188"/>
                  <a:gd name="T78" fmla="*/ 22 w 291"/>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1" h="188">
                    <a:moveTo>
                      <a:pt x="192" y="188"/>
                    </a:moveTo>
                    <a:cubicBezTo>
                      <a:pt x="186" y="188"/>
                      <a:pt x="181" y="186"/>
                      <a:pt x="177" y="182"/>
                    </a:cubicBezTo>
                    <a:cubicBezTo>
                      <a:pt x="173" y="178"/>
                      <a:pt x="171" y="172"/>
                      <a:pt x="171" y="166"/>
                    </a:cubicBezTo>
                    <a:cubicBezTo>
                      <a:pt x="171" y="161"/>
                      <a:pt x="173" y="155"/>
                      <a:pt x="177" y="151"/>
                    </a:cubicBezTo>
                    <a:cubicBezTo>
                      <a:pt x="213" y="116"/>
                      <a:pt x="213" y="116"/>
                      <a:pt x="213" y="116"/>
                    </a:cubicBezTo>
                    <a:cubicBezTo>
                      <a:pt x="22" y="116"/>
                      <a:pt x="22" y="116"/>
                      <a:pt x="22" y="116"/>
                    </a:cubicBezTo>
                    <a:cubicBezTo>
                      <a:pt x="12" y="116"/>
                      <a:pt x="0" y="110"/>
                      <a:pt x="0" y="94"/>
                    </a:cubicBezTo>
                    <a:cubicBezTo>
                      <a:pt x="0" y="78"/>
                      <a:pt x="12" y="73"/>
                      <a:pt x="22" y="73"/>
                    </a:cubicBezTo>
                    <a:cubicBezTo>
                      <a:pt x="213" y="73"/>
                      <a:pt x="213" y="73"/>
                      <a:pt x="213" y="73"/>
                    </a:cubicBezTo>
                    <a:cubicBezTo>
                      <a:pt x="177" y="37"/>
                      <a:pt x="177" y="37"/>
                      <a:pt x="177" y="37"/>
                    </a:cubicBezTo>
                    <a:cubicBezTo>
                      <a:pt x="173" y="33"/>
                      <a:pt x="171" y="27"/>
                      <a:pt x="171" y="22"/>
                    </a:cubicBezTo>
                    <a:cubicBezTo>
                      <a:pt x="171" y="16"/>
                      <a:pt x="173" y="11"/>
                      <a:pt x="177" y="6"/>
                    </a:cubicBezTo>
                    <a:cubicBezTo>
                      <a:pt x="181" y="2"/>
                      <a:pt x="186" y="0"/>
                      <a:pt x="192" y="0"/>
                    </a:cubicBezTo>
                    <a:cubicBezTo>
                      <a:pt x="198" y="0"/>
                      <a:pt x="203" y="2"/>
                      <a:pt x="207" y="6"/>
                    </a:cubicBezTo>
                    <a:cubicBezTo>
                      <a:pt x="280" y="79"/>
                      <a:pt x="280" y="79"/>
                      <a:pt x="280" y="79"/>
                    </a:cubicBezTo>
                    <a:cubicBezTo>
                      <a:pt x="280" y="79"/>
                      <a:pt x="281" y="80"/>
                      <a:pt x="282" y="81"/>
                    </a:cubicBezTo>
                    <a:cubicBezTo>
                      <a:pt x="286" y="84"/>
                      <a:pt x="291" y="89"/>
                      <a:pt x="291" y="94"/>
                    </a:cubicBezTo>
                    <a:cubicBezTo>
                      <a:pt x="291" y="100"/>
                      <a:pt x="286" y="104"/>
                      <a:pt x="282" y="107"/>
                    </a:cubicBezTo>
                    <a:cubicBezTo>
                      <a:pt x="281" y="108"/>
                      <a:pt x="280" y="109"/>
                      <a:pt x="280" y="109"/>
                    </a:cubicBezTo>
                    <a:cubicBezTo>
                      <a:pt x="207" y="182"/>
                      <a:pt x="207" y="182"/>
                      <a:pt x="207" y="182"/>
                    </a:cubicBezTo>
                    <a:cubicBezTo>
                      <a:pt x="203" y="186"/>
                      <a:pt x="198" y="188"/>
                      <a:pt x="192" y="188"/>
                    </a:cubicBezTo>
                    <a:close/>
                    <a:moveTo>
                      <a:pt x="22" y="81"/>
                    </a:moveTo>
                    <a:cubicBezTo>
                      <a:pt x="17" y="81"/>
                      <a:pt x="9" y="83"/>
                      <a:pt x="9" y="94"/>
                    </a:cubicBezTo>
                    <a:cubicBezTo>
                      <a:pt x="9" y="105"/>
                      <a:pt x="17" y="107"/>
                      <a:pt x="22" y="107"/>
                    </a:cubicBezTo>
                    <a:cubicBezTo>
                      <a:pt x="234" y="107"/>
                      <a:pt x="234" y="107"/>
                      <a:pt x="234" y="107"/>
                    </a:cubicBezTo>
                    <a:cubicBezTo>
                      <a:pt x="183" y="158"/>
                      <a:pt x="183" y="158"/>
                      <a:pt x="183" y="158"/>
                    </a:cubicBezTo>
                    <a:cubicBezTo>
                      <a:pt x="181" y="160"/>
                      <a:pt x="180" y="163"/>
                      <a:pt x="180" y="166"/>
                    </a:cubicBezTo>
                    <a:cubicBezTo>
                      <a:pt x="180" y="170"/>
                      <a:pt x="181" y="173"/>
                      <a:pt x="183" y="175"/>
                    </a:cubicBezTo>
                    <a:cubicBezTo>
                      <a:pt x="188" y="180"/>
                      <a:pt x="196" y="180"/>
                      <a:pt x="201" y="175"/>
                    </a:cubicBezTo>
                    <a:cubicBezTo>
                      <a:pt x="273" y="103"/>
                      <a:pt x="273" y="103"/>
                      <a:pt x="273" y="103"/>
                    </a:cubicBezTo>
                    <a:cubicBezTo>
                      <a:pt x="274" y="102"/>
                      <a:pt x="275" y="101"/>
                      <a:pt x="276" y="100"/>
                    </a:cubicBezTo>
                    <a:cubicBezTo>
                      <a:pt x="278" y="99"/>
                      <a:pt x="282" y="95"/>
                      <a:pt x="282" y="94"/>
                    </a:cubicBezTo>
                    <a:cubicBezTo>
                      <a:pt x="282" y="93"/>
                      <a:pt x="278" y="89"/>
                      <a:pt x="276" y="88"/>
                    </a:cubicBezTo>
                    <a:cubicBezTo>
                      <a:pt x="275" y="87"/>
                      <a:pt x="274" y="86"/>
                      <a:pt x="273" y="85"/>
                    </a:cubicBezTo>
                    <a:cubicBezTo>
                      <a:pt x="201" y="13"/>
                      <a:pt x="201" y="13"/>
                      <a:pt x="201" y="13"/>
                    </a:cubicBezTo>
                    <a:cubicBezTo>
                      <a:pt x="196" y="8"/>
                      <a:pt x="188" y="8"/>
                      <a:pt x="183" y="13"/>
                    </a:cubicBezTo>
                    <a:cubicBezTo>
                      <a:pt x="181" y="15"/>
                      <a:pt x="180" y="18"/>
                      <a:pt x="180" y="22"/>
                    </a:cubicBezTo>
                    <a:cubicBezTo>
                      <a:pt x="180" y="25"/>
                      <a:pt x="181" y="28"/>
                      <a:pt x="183" y="31"/>
                    </a:cubicBezTo>
                    <a:cubicBezTo>
                      <a:pt x="234" y="81"/>
                      <a:pt x="234" y="81"/>
                      <a:pt x="234"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69" name="Freeform 14"/>
              <p:cNvSpPr>
                <a:spLocks noEditPoints="1"/>
              </p:cNvSpPr>
              <p:nvPr userDrawn="1"/>
            </p:nvSpPr>
            <p:spPr bwMode="auto">
              <a:xfrm>
                <a:off x="9024032" y="1906648"/>
                <a:ext cx="89399" cy="91152"/>
              </a:xfrm>
              <a:custGeom>
                <a:avLst/>
                <a:gdLst>
                  <a:gd name="T0" fmla="*/ 22 w 43"/>
                  <a:gd name="T1" fmla="*/ 44 h 44"/>
                  <a:gd name="T2" fmla="*/ 0 w 43"/>
                  <a:gd name="T3" fmla="*/ 22 h 44"/>
                  <a:gd name="T4" fmla="*/ 22 w 43"/>
                  <a:gd name="T5" fmla="*/ 0 h 44"/>
                  <a:gd name="T6" fmla="*/ 43 w 43"/>
                  <a:gd name="T7" fmla="*/ 22 h 44"/>
                  <a:gd name="T8" fmla="*/ 22 w 43"/>
                  <a:gd name="T9" fmla="*/ 44 h 44"/>
                  <a:gd name="T10" fmla="*/ 22 w 43"/>
                  <a:gd name="T11" fmla="*/ 9 h 44"/>
                  <a:gd name="T12" fmla="*/ 9 w 43"/>
                  <a:gd name="T13" fmla="*/ 22 h 44"/>
                  <a:gd name="T14" fmla="*/ 22 w 43"/>
                  <a:gd name="T15" fmla="*/ 35 h 44"/>
                  <a:gd name="T16" fmla="*/ 34 w 43"/>
                  <a:gd name="T17" fmla="*/ 22 h 44"/>
                  <a:gd name="T18" fmla="*/ 22 w 43"/>
                  <a:gd name="T19"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2" y="44"/>
                    </a:moveTo>
                    <a:cubicBezTo>
                      <a:pt x="10" y="44"/>
                      <a:pt x="0" y="34"/>
                      <a:pt x="0" y="22"/>
                    </a:cubicBezTo>
                    <a:cubicBezTo>
                      <a:pt x="0" y="10"/>
                      <a:pt x="10" y="0"/>
                      <a:pt x="22" y="0"/>
                    </a:cubicBezTo>
                    <a:cubicBezTo>
                      <a:pt x="33" y="0"/>
                      <a:pt x="43" y="10"/>
                      <a:pt x="43" y="22"/>
                    </a:cubicBezTo>
                    <a:cubicBezTo>
                      <a:pt x="43" y="34"/>
                      <a:pt x="33" y="44"/>
                      <a:pt x="22" y="44"/>
                    </a:cubicBezTo>
                    <a:close/>
                    <a:moveTo>
                      <a:pt x="22" y="9"/>
                    </a:moveTo>
                    <a:cubicBezTo>
                      <a:pt x="15" y="9"/>
                      <a:pt x="9" y="15"/>
                      <a:pt x="9" y="22"/>
                    </a:cubicBezTo>
                    <a:cubicBezTo>
                      <a:pt x="9" y="29"/>
                      <a:pt x="15" y="35"/>
                      <a:pt x="22" y="35"/>
                    </a:cubicBezTo>
                    <a:cubicBezTo>
                      <a:pt x="29" y="35"/>
                      <a:pt x="34" y="29"/>
                      <a:pt x="34" y="22"/>
                    </a:cubicBezTo>
                    <a:cubicBezTo>
                      <a:pt x="34" y="15"/>
                      <a:pt x="29" y="9"/>
                      <a:pt x="22"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grpSp>
      <p:grpSp>
        <p:nvGrpSpPr>
          <p:cNvPr id="74" name="spaceman"/>
          <p:cNvGrpSpPr/>
          <p:nvPr userDrawn="1"/>
        </p:nvGrpSpPr>
        <p:grpSpPr>
          <a:xfrm rot="21402827">
            <a:off x="10764092" y="3979770"/>
            <a:ext cx="977688" cy="1700309"/>
            <a:chOff x="10831129" y="421994"/>
            <a:chExt cx="977433" cy="1700309"/>
          </a:xfrm>
        </p:grpSpPr>
        <p:sp>
          <p:nvSpPr>
            <p:cNvPr id="75" name="Freeform 21"/>
            <p:cNvSpPr>
              <a:spLocks/>
            </p:cNvSpPr>
            <p:nvPr userDrawn="1"/>
          </p:nvSpPr>
          <p:spPr bwMode="auto">
            <a:xfrm>
              <a:off x="10891558" y="1560317"/>
              <a:ext cx="586913" cy="561986"/>
            </a:xfrm>
            <a:custGeom>
              <a:avLst/>
              <a:gdLst>
                <a:gd name="T0" fmla="*/ 35 w 329"/>
                <a:gd name="T1" fmla="*/ 315 h 315"/>
                <a:gd name="T2" fmla="*/ 31 w 329"/>
                <a:gd name="T3" fmla="*/ 308 h 315"/>
                <a:gd name="T4" fmla="*/ 74 w 329"/>
                <a:gd name="T5" fmla="*/ 136 h 315"/>
                <a:gd name="T6" fmla="*/ 121 w 329"/>
                <a:gd name="T7" fmla="*/ 85 h 315"/>
                <a:gd name="T8" fmla="*/ 85 w 329"/>
                <a:gd name="T9" fmla="*/ 70 h 315"/>
                <a:gd name="T10" fmla="*/ 75 w 329"/>
                <a:gd name="T11" fmla="*/ 69 h 315"/>
                <a:gd name="T12" fmla="*/ 83 w 329"/>
                <a:gd name="T13" fmla="*/ 62 h 315"/>
                <a:gd name="T14" fmla="*/ 208 w 329"/>
                <a:gd name="T15" fmla="*/ 21 h 315"/>
                <a:gd name="T16" fmla="*/ 204 w 329"/>
                <a:gd name="T17" fmla="*/ 29 h 315"/>
                <a:gd name="T18" fmla="*/ 96 w 329"/>
                <a:gd name="T19" fmla="*/ 63 h 315"/>
                <a:gd name="T20" fmla="*/ 130 w 329"/>
                <a:gd name="T21" fmla="*/ 83 h 315"/>
                <a:gd name="T22" fmla="*/ 79 w 329"/>
                <a:gd name="T23" fmla="*/ 143 h 315"/>
                <a:gd name="T24" fmla="*/ 34 w 329"/>
                <a:gd name="T25" fmla="*/ 296 h 315"/>
                <a:gd name="T26" fmla="*/ 171 w 329"/>
                <a:gd name="T27" fmla="*/ 185 h 315"/>
                <a:gd name="T28" fmla="*/ 210 w 329"/>
                <a:gd name="T29" fmla="*/ 190 h 315"/>
                <a:gd name="T30" fmla="*/ 214 w 329"/>
                <a:gd name="T31" fmla="*/ 201 h 315"/>
                <a:gd name="T32" fmla="*/ 194 w 329"/>
                <a:gd name="T33" fmla="*/ 226 h 315"/>
                <a:gd name="T34" fmla="*/ 179 w 329"/>
                <a:gd name="T35" fmla="*/ 286 h 315"/>
                <a:gd name="T36" fmla="*/ 203 w 329"/>
                <a:gd name="T37" fmla="*/ 258 h 315"/>
                <a:gd name="T38" fmla="*/ 219 w 329"/>
                <a:gd name="T39" fmla="*/ 250 h 315"/>
                <a:gd name="T40" fmla="*/ 270 w 329"/>
                <a:gd name="T41" fmla="*/ 223 h 315"/>
                <a:gd name="T42" fmla="*/ 318 w 329"/>
                <a:gd name="T43" fmla="*/ 148 h 315"/>
                <a:gd name="T44" fmla="*/ 304 w 329"/>
                <a:gd name="T45" fmla="*/ 85 h 315"/>
                <a:gd name="T46" fmla="*/ 311 w 329"/>
                <a:gd name="T47" fmla="*/ 80 h 315"/>
                <a:gd name="T48" fmla="*/ 326 w 329"/>
                <a:gd name="T49" fmla="*/ 149 h 315"/>
                <a:gd name="T50" fmla="*/ 275 w 329"/>
                <a:gd name="T51" fmla="*/ 230 h 315"/>
                <a:gd name="T52" fmla="*/ 223 w 329"/>
                <a:gd name="T53" fmla="*/ 258 h 315"/>
                <a:gd name="T54" fmla="*/ 207 w 329"/>
                <a:gd name="T55" fmla="*/ 266 h 315"/>
                <a:gd name="T56" fmla="*/ 184 w 329"/>
                <a:gd name="T57" fmla="*/ 297 h 315"/>
                <a:gd name="T58" fmla="*/ 182 w 329"/>
                <a:gd name="T59" fmla="*/ 308 h 315"/>
                <a:gd name="T60" fmla="*/ 176 w 329"/>
                <a:gd name="T61" fmla="*/ 299 h 315"/>
                <a:gd name="T62" fmla="*/ 189 w 329"/>
                <a:gd name="T63" fmla="*/ 220 h 315"/>
                <a:gd name="T64" fmla="*/ 205 w 329"/>
                <a:gd name="T65" fmla="*/ 200 h 315"/>
                <a:gd name="T66" fmla="*/ 204 w 329"/>
                <a:gd name="T67" fmla="*/ 196 h 315"/>
                <a:gd name="T68" fmla="*/ 173 w 329"/>
                <a:gd name="T69" fmla="*/ 193 h 315"/>
                <a:gd name="T70" fmla="*/ 39 w 329"/>
                <a:gd name="T71" fmla="*/ 307 h 315"/>
                <a:gd name="T72" fmla="*/ 35 w 329"/>
                <a:gd name="T73"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9" h="315">
                  <a:moveTo>
                    <a:pt x="35" y="315"/>
                  </a:moveTo>
                  <a:cubicBezTo>
                    <a:pt x="31" y="308"/>
                    <a:pt x="31" y="308"/>
                    <a:pt x="31" y="308"/>
                  </a:cubicBezTo>
                  <a:cubicBezTo>
                    <a:pt x="8" y="269"/>
                    <a:pt x="0" y="188"/>
                    <a:pt x="74" y="136"/>
                  </a:cubicBezTo>
                  <a:cubicBezTo>
                    <a:pt x="118" y="106"/>
                    <a:pt x="123" y="91"/>
                    <a:pt x="121" y="85"/>
                  </a:cubicBezTo>
                  <a:cubicBezTo>
                    <a:pt x="119" y="75"/>
                    <a:pt x="93" y="71"/>
                    <a:pt x="85" y="70"/>
                  </a:cubicBezTo>
                  <a:cubicBezTo>
                    <a:pt x="75" y="69"/>
                    <a:pt x="75" y="69"/>
                    <a:pt x="75" y="69"/>
                  </a:cubicBezTo>
                  <a:cubicBezTo>
                    <a:pt x="83" y="62"/>
                    <a:pt x="83" y="62"/>
                    <a:pt x="83" y="62"/>
                  </a:cubicBezTo>
                  <a:cubicBezTo>
                    <a:pt x="86" y="60"/>
                    <a:pt x="158" y="0"/>
                    <a:pt x="208" y="21"/>
                  </a:cubicBezTo>
                  <a:cubicBezTo>
                    <a:pt x="204" y="29"/>
                    <a:pt x="204" y="29"/>
                    <a:pt x="204" y="29"/>
                  </a:cubicBezTo>
                  <a:cubicBezTo>
                    <a:pt x="168" y="14"/>
                    <a:pt x="115" y="48"/>
                    <a:pt x="96" y="63"/>
                  </a:cubicBezTo>
                  <a:cubicBezTo>
                    <a:pt x="112" y="66"/>
                    <a:pt x="127" y="71"/>
                    <a:pt x="130" y="83"/>
                  </a:cubicBezTo>
                  <a:cubicBezTo>
                    <a:pt x="133" y="98"/>
                    <a:pt x="117" y="117"/>
                    <a:pt x="79" y="143"/>
                  </a:cubicBezTo>
                  <a:cubicBezTo>
                    <a:pt x="14" y="188"/>
                    <a:pt x="17" y="257"/>
                    <a:pt x="34" y="296"/>
                  </a:cubicBezTo>
                  <a:cubicBezTo>
                    <a:pt x="67" y="231"/>
                    <a:pt x="126" y="193"/>
                    <a:pt x="171" y="185"/>
                  </a:cubicBezTo>
                  <a:cubicBezTo>
                    <a:pt x="189" y="182"/>
                    <a:pt x="203" y="183"/>
                    <a:pt x="210" y="190"/>
                  </a:cubicBezTo>
                  <a:cubicBezTo>
                    <a:pt x="213" y="193"/>
                    <a:pt x="214" y="197"/>
                    <a:pt x="214" y="201"/>
                  </a:cubicBezTo>
                  <a:cubicBezTo>
                    <a:pt x="213" y="208"/>
                    <a:pt x="207" y="216"/>
                    <a:pt x="194" y="226"/>
                  </a:cubicBezTo>
                  <a:cubicBezTo>
                    <a:pt x="168" y="248"/>
                    <a:pt x="173" y="273"/>
                    <a:pt x="179" y="286"/>
                  </a:cubicBezTo>
                  <a:cubicBezTo>
                    <a:pt x="182" y="277"/>
                    <a:pt x="189" y="265"/>
                    <a:pt x="203" y="258"/>
                  </a:cubicBezTo>
                  <a:cubicBezTo>
                    <a:pt x="207" y="256"/>
                    <a:pt x="213" y="253"/>
                    <a:pt x="219" y="250"/>
                  </a:cubicBezTo>
                  <a:cubicBezTo>
                    <a:pt x="236" y="242"/>
                    <a:pt x="260" y="231"/>
                    <a:pt x="270" y="223"/>
                  </a:cubicBezTo>
                  <a:cubicBezTo>
                    <a:pt x="299" y="203"/>
                    <a:pt x="314" y="180"/>
                    <a:pt x="318" y="148"/>
                  </a:cubicBezTo>
                  <a:cubicBezTo>
                    <a:pt x="320" y="125"/>
                    <a:pt x="316" y="104"/>
                    <a:pt x="304" y="85"/>
                  </a:cubicBezTo>
                  <a:cubicBezTo>
                    <a:pt x="311" y="80"/>
                    <a:pt x="311" y="80"/>
                    <a:pt x="311" y="80"/>
                  </a:cubicBezTo>
                  <a:cubicBezTo>
                    <a:pt x="324" y="101"/>
                    <a:pt x="329" y="124"/>
                    <a:pt x="326" y="149"/>
                  </a:cubicBezTo>
                  <a:cubicBezTo>
                    <a:pt x="322" y="183"/>
                    <a:pt x="306" y="209"/>
                    <a:pt x="275" y="230"/>
                  </a:cubicBezTo>
                  <a:cubicBezTo>
                    <a:pt x="264" y="238"/>
                    <a:pt x="241" y="249"/>
                    <a:pt x="223" y="258"/>
                  </a:cubicBezTo>
                  <a:cubicBezTo>
                    <a:pt x="216" y="261"/>
                    <a:pt x="211" y="264"/>
                    <a:pt x="207" y="266"/>
                  </a:cubicBezTo>
                  <a:cubicBezTo>
                    <a:pt x="188" y="275"/>
                    <a:pt x="184" y="297"/>
                    <a:pt x="184" y="297"/>
                  </a:cubicBezTo>
                  <a:cubicBezTo>
                    <a:pt x="182" y="308"/>
                    <a:pt x="182" y="308"/>
                    <a:pt x="182" y="308"/>
                  </a:cubicBezTo>
                  <a:cubicBezTo>
                    <a:pt x="176" y="299"/>
                    <a:pt x="176" y="299"/>
                    <a:pt x="176" y="299"/>
                  </a:cubicBezTo>
                  <a:cubicBezTo>
                    <a:pt x="176" y="299"/>
                    <a:pt x="145" y="255"/>
                    <a:pt x="189" y="220"/>
                  </a:cubicBezTo>
                  <a:cubicBezTo>
                    <a:pt x="202" y="209"/>
                    <a:pt x="205" y="203"/>
                    <a:pt x="205" y="200"/>
                  </a:cubicBezTo>
                  <a:cubicBezTo>
                    <a:pt x="205" y="199"/>
                    <a:pt x="205" y="197"/>
                    <a:pt x="204" y="196"/>
                  </a:cubicBezTo>
                  <a:cubicBezTo>
                    <a:pt x="200" y="193"/>
                    <a:pt x="191" y="190"/>
                    <a:pt x="173" y="193"/>
                  </a:cubicBezTo>
                  <a:cubicBezTo>
                    <a:pt x="139" y="200"/>
                    <a:pt x="73" y="231"/>
                    <a:pt x="39" y="307"/>
                  </a:cubicBezTo>
                  <a:lnTo>
                    <a:pt x="35" y="31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6" name="Freeform 22"/>
            <p:cNvSpPr>
              <a:spLocks/>
            </p:cNvSpPr>
            <p:nvPr userDrawn="1"/>
          </p:nvSpPr>
          <p:spPr bwMode="auto">
            <a:xfrm>
              <a:off x="10831129" y="1332199"/>
              <a:ext cx="351242" cy="435086"/>
            </a:xfrm>
            <a:custGeom>
              <a:avLst/>
              <a:gdLst>
                <a:gd name="T0" fmla="*/ 55 w 197"/>
                <a:gd name="T1" fmla="*/ 244 h 244"/>
                <a:gd name="T2" fmla="*/ 48 w 197"/>
                <a:gd name="T3" fmla="*/ 240 h 244"/>
                <a:gd name="T4" fmla="*/ 16 w 197"/>
                <a:gd name="T5" fmla="*/ 135 h 244"/>
                <a:gd name="T6" fmla="*/ 65 w 197"/>
                <a:gd name="T7" fmla="*/ 75 h 244"/>
                <a:gd name="T8" fmla="*/ 87 w 197"/>
                <a:gd name="T9" fmla="*/ 48 h 244"/>
                <a:gd name="T10" fmla="*/ 52 w 197"/>
                <a:gd name="T11" fmla="*/ 38 h 244"/>
                <a:gd name="T12" fmla="*/ 43 w 197"/>
                <a:gd name="T13" fmla="*/ 38 h 244"/>
                <a:gd name="T14" fmla="*/ 48 w 197"/>
                <a:gd name="T15" fmla="*/ 31 h 244"/>
                <a:gd name="T16" fmla="*/ 93 w 197"/>
                <a:gd name="T17" fmla="*/ 0 h 244"/>
                <a:gd name="T18" fmla="*/ 95 w 197"/>
                <a:gd name="T19" fmla="*/ 9 h 244"/>
                <a:gd name="T20" fmla="*/ 61 w 197"/>
                <a:gd name="T21" fmla="*/ 29 h 244"/>
                <a:gd name="T22" fmla="*/ 95 w 197"/>
                <a:gd name="T23" fmla="*/ 45 h 244"/>
                <a:gd name="T24" fmla="*/ 70 w 197"/>
                <a:gd name="T25" fmla="*/ 82 h 244"/>
                <a:gd name="T26" fmla="*/ 24 w 197"/>
                <a:gd name="T27" fmla="*/ 138 h 244"/>
                <a:gd name="T28" fmla="*/ 46 w 197"/>
                <a:gd name="T29" fmla="*/ 228 h 244"/>
                <a:gd name="T30" fmla="*/ 120 w 197"/>
                <a:gd name="T31" fmla="*/ 155 h 244"/>
                <a:gd name="T32" fmla="*/ 150 w 197"/>
                <a:gd name="T33" fmla="*/ 138 h 244"/>
                <a:gd name="T34" fmla="*/ 167 w 197"/>
                <a:gd name="T35" fmla="*/ 123 h 244"/>
                <a:gd name="T36" fmla="*/ 182 w 197"/>
                <a:gd name="T37" fmla="*/ 58 h 244"/>
                <a:gd name="T38" fmla="*/ 191 w 197"/>
                <a:gd name="T39" fmla="*/ 56 h 244"/>
                <a:gd name="T40" fmla="*/ 174 w 197"/>
                <a:gd name="T41" fmla="*/ 128 h 244"/>
                <a:gd name="T42" fmla="*/ 154 w 197"/>
                <a:gd name="T43" fmla="*/ 145 h 244"/>
                <a:gd name="T44" fmla="*/ 124 w 197"/>
                <a:gd name="T45" fmla="*/ 163 h 244"/>
                <a:gd name="T46" fmla="*/ 54 w 197"/>
                <a:gd name="T47" fmla="*/ 236 h 244"/>
                <a:gd name="T48" fmla="*/ 55 w 197"/>
                <a:gd name="T4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7" h="244">
                  <a:moveTo>
                    <a:pt x="55" y="244"/>
                  </a:moveTo>
                  <a:cubicBezTo>
                    <a:pt x="48" y="240"/>
                    <a:pt x="48" y="240"/>
                    <a:pt x="48" y="240"/>
                  </a:cubicBezTo>
                  <a:cubicBezTo>
                    <a:pt x="15" y="221"/>
                    <a:pt x="0" y="173"/>
                    <a:pt x="16" y="135"/>
                  </a:cubicBezTo>
                  <a:cubicBezTo>
                    <a:pt x="30" y="102"/>
                    <a:pt x="53" y="84"/>
                    <a:pt x="65" y="75"/>
                  </a:cubicBezTo>
                  <a:cubicBezTo>
                    <a:pt x="81" y="64"/>
                    <a:pt x="89" y="54"/>
                    <a:pt x="87" y="48"/>
                  </a:cubicBezTo>
                  <a:cubicBezTo>
                    <a:pt x="85" y="41"/>
                    <a:pt x="69" y="36"/>
                    <a:pt x="52" y="38"/>
                  </a:cubicBezTo>
                  <a:cubicBezTo>
                    <a:pt x="43" y="38"/>
                    <a:pt x="43" y="38"/>
                    <a:pt x="43" y="38"/>
                  </a:cubicBezTo>
                  <a:cubicBezTo>
                    <a:pt x="48" y="31"/>
                    <a:pt x="48" y="31"/>
                    <a:pt x="48" y="31"/>
                  </a:cubicBezTo>
                  <a:cubicBezTo>
                    <a:pt x="59" y="15"/>
                    <a:pt x="74" y="4"/>
                    <a:pt x="93" y="0"/>
                  </a:cubicBezTo>
                  <a:cubicBezTo>
                    <a:pt x="95" y="9"/>
                    <a:pt x="95" y="9"/>
                    <a:pt x="95" y="9"/>
                  </a:cubicBezTo>
                  <a:cubicBezTo>
                    <a:pt x="81" y="12"/>
                    <a:pt x="70" y="18"/>
                    <a:pt x="61" y="29"/>
                  </a:cubicBezTo>
                  <a:cubicBezTo>
                    <a:pt x="76" y="29"/>
                    <a:pt x="91" y="34"/>
                    <a:pt x="95" y="45"/>
                  </a:cubicBezTo>
                  <a:cubicBezTo>
                    <a:pt x="99" y="56"/>
                    <a:pt x="91" y="68"/>
                    <a:pt x="70" y="82"/>
                  </a:cubicBezTo>
                  <a:cubicBezTo>
                    <a:pt x="58" y="90"/>
                    <a:pt x="37" y="108"/>
                    <a:pt x="24" y="138"/>
                  </a:cubicBezTo>
                  <a:cubicBezTo>
                    <a:pt x="11" y="169"/>
                    <a:pt x="21" y="209"/>
                    <a:pt x="46" y="228"/>
                  </a:cubicBezTo>
                  <a:cubicBezTo>
                    <a:pt x="49" y="193"/>
                    <a:pt x="86" y="173"/>
                    <a:pt x="120" y="155"/>
                  </a:cubicBezTo>
                  <a:cubicBezTo>
                    <a:pt x="131" y="149"/>
                    <a:pt x="141" y="144"/>
                    <a:pt x="150" y="138"/>
                  </a:cubicBezTo>
                  <a:cubicBezTo>
                    <a:pt x="157" y="134"/>
                    <a:pt x="161" y="130"/>
                    <a:pt x="167" y="123"/>
                  </a:cubicBezTo>
                  <a:cubicBezTo>
                    <a:pt x="181" y="105"/>
                    <a:pt x="188" y="80"/>
                    <a:pt x="182" y="58"/>
                  </a:cubicBezTo>
                  <a:cubicBezTo>
                    <a:pt x="191" y="56"/>
                    <a:pt x="191" y="56"/>
                    <a:pt x="191" y="56"/>
                  </a:cubicBezTo>
                  <a:cubicBezTo>
                    <a:pt x="197" y="81"/>
                    <a:pt x="190" y="108"/>
                    <a:pt x="174" y="128"/>
                  </a:cubicBezTo>
                  <a:cubicBezTo>
                    <a:pt x="167" y="136"/>
                    <a:pt x="162" y="140"/>
                    <a:pt x="154" y="145"/>
                  </a:cubicBezTo>
                  <a:cubicBezTo>
                    <a:pt x="145" y="151"/>
                    <a:pt x="135" y="157"/>
                    <a:pt x="124" y="163"/>
                  </a:cubicBezTo>
                  <a:cubicBezTo>
                    <a:pt x="88" y="181"/>
                    <a:pt x="52" y="201"/>
                    <a:pt x="54" y="236"/>
                  </a:cubicBezTo>
                  <a:lnTo>
                    <a:pt x="55" y="24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7" name="Freeform 19"/>
            <p:cNvSpPr>
              <a:spLocks noEditPoints="1"/>
            </p:cNvSpPr>
            <p:nvPr userDrawn="1"/>
          </p:nvSpPr>
          <p:spPr bwMode="auto">
            <a:xfrm>
              <a:off x="11496600" y="732445"/>
              <a:ext cx="90643" cy="83844"/>
            </a:xfrm>
            <a:custGeom>
              <a:avLst/>
              <a:gdLst>
                <a:gd name="T0" fmla="*/ 24 w 51"/>
                <a:gd name="T1" fmla="*/ 47 h 47"/>
                <a:gd name="T2" fmla="*/ 15 w 51"/>
                <a:gd name="T3" fmla="*/ 44 h 47"/>
                <a:gd name="T4" fmla="*/ 2 w 51"/>
                <a:gd name="T5" fmla="*/ 31 h 47"/>
                <a:gd name="T6" fmla="*/ 3 w 51"/>
                <a:gd name="T7" fmla="*/ 14 h 47"/>
                <a:gd name="T8" fmla="*/ 24 w 51"/>
                <a:gd name="T9" fmla="*/ 0 h 47"/>
                <a:gd name="T10" fmla="*/ 34 w 51"/>
                <a:gd name="T11" fmla="*/ 2 h 47"/>
                <a:gd name="T12" fmla="*/ 46 w 51"/>
                <a:gd name="T13" fmla="*/ 33 h 47"/>
                <a:gd name="T14" fmla="*/ 24 w 51"/>
                <a:gd name="T15" fmla="*/ 47 h 47"/>
                <a:gd name="T16" fmla="*/ 24 w 51"/>
                <a:gd name="T17" fmla="*/ 6 h 47"/>
                <a:gd name="T18" fmla="*/ 8 w 51"/>
                <a:gd name="T19" fmla="*/ 16 h 47"/>
                <a:gd name="T20" fmla="*/ 8 w 51"/>
                <a:gd name="T21" fmla="*/ 29 h 47"/>
                <a:gd name="T22" fmla="*/ 17 w 51"/>
                <a:gd name="T23" fmla="*/ 39 h 47"/>
                <a:gd name="T24" fmla="*/ 24 w 51"/>
                <a:gd name="T25" fmla="*/ 41 h 47"/>
                <a:gd name="T26" fmla="*/ 40 w 51"/>
                <a:gd name="T27" fmla="*/ 30 h 47"/>
                <a:gd name="T28" fmla="*/ 32 w 51"/>
                <a:gd name="T29" fmla="*/ 7 h 47"/>
                <a:gd name="T30" fmla="*/ 24 w 51"/>
                <a:gd name="T31"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47">
                  <a:moveTo>
                    <a:pt x="24" y="47"/>
                  </a:moveTo>
                  <a:cubicBezTo>
                    <a:pt x="21" y="47"/>
                    <a:pt x="18" y="46"/>
                    <a:pt x="15" y="44"/>
                  </a:cubicBezTo>
                  <a:cubicBezTo>
                    <a:pt x="9" y="42"/>
                    <a:pt x="5" y="37"/>
                    <a:pt x="2" y="31"/>
                  </a:cubicBezTo>
                  <a:cubicBezTo>
                    <a:pt x="0" y="26"/>
                    <a:pt x="0" y="19"/>
                    <a:pt x="3" y="14"/>
                  </a:cubicBezTo>
                  <a:cubicBezTo>
                    <a:pt x="7" y="5"/>
                    <a:pt x="15" y="0"/>
                    <a:pt x="24" y="0"/>
                  </a:cubicBezTo>
                  <a:cubicBezTo>
                    <a:pt x="28" y="0"/>
                    <a:pt x="31" y="1"/>
                    <a:pt x="34" y="2"/>
                  </a:cubicBezTo>
                  <a:cubicBezTo>
                    <a:pt x="46" y="7"/>
                    <a:pt x="51" y="21"/>
                    <a:pt x="46" y="33"/>
                  </a:cubicBezTo>
                  <a:cubicBezTo>
                    <a:pt x="42" y="41"/>
                    <a:pt x="33" y="47"/>
                    <a:pt x="24" y="47"/>
                  </a:cubicBezTo>
                  <a:close/>
                  <a:moveTo>
                    <a:pt x="24" y="6"/>
                  </a:moveTo>
                  <a:cubicBezTo>
                    <a:pt x="17" y="6"/>
                    <a:pt x="11" y="10"/>
                    <a:pt x="8" y="16"/>
                  </a:cubicBezTo>
                  <a:cubicBezTo>
                    <a:pt x="6" y="20"/>
                    <a:pt x="6" y="25"/>
                    <a:pt x="8" y="29"/>
                  </a:cubicBezTo>
                  <a:cubicBezTo>
                    <a:pt x="9" y="34"/>
                    <a:pt x="13" y="37"/>
                    <a:pt x="17" y="39"/>
                  </a:cubicBezTo>
                  <a:cubicBezTo>
                    <a:pt x="19" y="40"/>
                    <a:pt x="22" y="41"/>
                    <a:pt x="24" y="41"/>
                  </a:cubicBezTo>
                  <a:cubicBezTo>
                    <a:pt x="31" y="41"/>
                    <a:pt x="37" y="37"/>
                    <a:pt x="40" y="30"/>
                  </a:cubicBezTo>
                  <a:cubicBezTo>
                    <a:pt x="44" y="22"/>
                    <a:pt x="40" y="11"/>
                    <a:pt x="32" y="7"/>
                  </a:cubicBezTo>
                  <a:cubicBezTo>
                    <a:pt x="29" y="6"/>
                    <a:pt x="27" y="6"/>
                    <a:pt x="2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78" name="Freeform 20"/>
            <p:cNvSpPr>
              <a:spLocks noEditPoints="1"/>
            </p:cNvSpPr>
            <p:nvPr userDrawn="1"/>
          </p:nvSpPr>
          <p:spPr bwMode="auto">
            <a:xfrm>
              <a:off x="10991265" y="421994"/>
              <a:ext cx="817297" cy="1300725"/>
            </a:xfrm>
            <a:custGeom>
              <a:avLst/>
              <a:gdLst>
                <a:gd name="T0" fmla="*/ 145 w 458"/>
                <a:gd name="T1" fmla="*/ 676 h 729"/>
                <a:gd name="T2" fmla="*/ 203 w 458"/>
                <a:gd name="T3" fmla="*/ 575 h 729"/>
                <a:gd name="T4" fmla="*/ 178 w 458"/>
                <a:gd name="T5" fmla="*/ 383 h 729"/>
                <a:gd name="T6" fmla="*/ 119 w 458"/>
                <a:gd name="T7" fmla="*/ 559 h 729"/>
                <a:gd name="T8" fmla="*/ 4 w 458"/>
                <a:gd name="T9" fmla="*/ 524 h 729"/>
                <a:gd name="T10" fmla="*/ 88 w 458"/>
                <a:gd name="T11" fmla="*/ 422 h 729"/>
                <a:gd name="T12" fmla="*/ 163 w 458"/>
                <a:gd name="T13" fmla="*/ 283 h 729"/>
                <a:gd name="T14" fmla="*/ 186 w 458"/>
                <a:gd name="T15" fmla="*/ 245 h 729"/>
                <a:gd name="T16" fmla="*/ 160 w 458"/>
                <a:gd name="T17" fmla="*/ 31 h 729"/>
                <a:gd name="T18" fmla="*/ 255 w 458"/>
                <a:gd name="T19" fmla="*/ 74 h 729"/>
                <a:gd name="T20" fmla="*/ 187 w 458"/>
                <a:gd name="T21" fmla="*/ 163 h 729"/>
                <a:gd name="T22" fmla="*/ 265 w 458"/>
                <a:gd name="T23" fmla="*/ 184 h 729"/>
                <a:gd name="T24" fmla="*/ 347 w 458"/>
                <a:gd name="T25" fmla="*/ 221 h 729"/>
                <a:gd name="T26" fmla="*/ 388 w 458"/>
                <a:gd name="T27" fmla="*/ 294 h 729"/>
                <a:gd name="T28" fmla="*/ 409 w 458"/>
                <a:gd name="T29" fmla="*/ 486 h 729"/>
                <a:gd name="T30" fmla="*/ 380 w 458"/>
                <a:gd name="T31" fmla="*/ 387 h 729"/>
                <a:gd name="T32" fmla="*/ 344 w 458"/>
                <a:gd name="T33" fmla="*/ 355 h 729"/>
                <a:gd name="T34" fmla="*/ 319 w 458"/>
                <a:gd name="T35" fmla="*/ 392 h 729"/>
                <a:gd name="T36" fmla="*/ 262 w 458"/>
                <a:gd name="T37" fmla="*/ 715 h 729"/>
                <a:gd name="T38" fmla="*/ 274 w 458"/>
                <a:gd name="T39" fmla="*/ 412 h 729"/>
                <a:gd name="T40" fmla="*/ 207 w 458"/>
                <a:gd name="T41" fmla="*/ 583 h 729"/>
                <a:gd name="T42" fmla="*/ 153 w 458"/>
                <a:gd name="T43" fmla="*/ 667 h 729"/>
                <a:gd name="T44" fmla="*/ 235 w 458"/>
                <a:gd name="T45" fmla="*/ 720 h 729"/>
                <a:gd name="T46" fmla="*/ 263 w 458"/>
                <a:gd name="T47" fmla="*/ 606 h 729"/>
                <a:gd name="T48" fmla="*/ 311 w 458"/>
                <a:gd name="T49" fmla="*/ 389 h 729"/>
                <a:gd name="T50" fmla="*/ 333 w 458"/>
                <a:gd name="T51" fmla="*/ 360 h 729"/>
                <a:gd name="T52" fmla="*/ 346 w 458"/>
                <a:gd name="T53" fmla="*/ 312 h 729"/>
                <a:gd name="T54" fmla="*/ 389 w 458"/>
                <a:gd name="T55" fmla="*/ 390 h 729"/>
                <a:gd name="T56" fmla="*/ 359 w 458"/>
                <a:gd name="T57" fmla="*/ 441 h 729"/>
                <a:gd name="T58" fmla="*/ 445 w 458"/>
                <a:gd name="T59" fmla="*/ 428 h 729"/>
                <a:gd name="T60" fmla="*/ 418 w 458"/>
                <a:gd name="T61" fmla="*/ 391 h 729"/>
                <a:gd name="T62" fmla="*/ 345 w 458"/>
                <a:gd name="T63" fmla="*/ 279 h 729"/>
                <a:gd name="T64" fmla="*/ 331 w 458"/>
                <a:gd name="T65" fmla="*/ 240 h 729"/>
                <a:gd name="T66" fmla="*/ 321 w 458"/>
                <a:gd name="T67" fmla="*/ 170 h 729"/>
                <a:gd name="T68" fmla="*/ 263 w 458"/>
                <a:gd name="T69" fmla="*/ 207 h 729"/>
                <a:gd name="T70" fmla="*/ 226 w 458"/>
                <a:gd name="T71" fmla="*/ 223 h 729"/>
                <a:gd name="T72" fmla="*/ 179 w 458"/>
                <a:gd name="T73" fmla="*/ 166 h 729"/>
                <a:gd name="T74" fmla="*/ 199 w 458"/>
                <a:gd name="T75" fmla="*/ 95 h 729"/>
                <a:gd name="T76" fmla="*/ 225 w 458"/>
                <a:gd name="T77" fmla="*/ 13 h 729"/>
                <a:gd name="T78" fmla="*/ 171 w 458"/>
                <a:gd name="T79" fmla="*/ 76 h 729"/>
                <a:gd name="T80" fmla="*/ 151 w 458"/>
                <a:gd name="T81" fmla="*/ 176 h 729"/>
                <a:gd name="T82" fmla="*/ 196 w 458"/>
                <a:gd name="T83" fmla="*/ 247 h 729"/>
                <a:gd name="T84" fmla="*/ 171 w 458"/>
                <a:gd name="T85" fmla="*/ 285 h 729"/>
                <a:gd name="T86" fmla="*/ 164 w 458"/>
                <a:gd name="T87" fmla="*/ 333 h 729"/>
                <a:gd name="T88" fmla="*/ 92 w 458"/>
                <a:gd name="T89" fmla="*/ 430 h 729"/>
                <a:gd name="T90" fmla="*/ 12 w 458"/>
                <a:gd name="T91" fmla="*/ 510 h 729"/>
                <a:gd name="T92" fmla="*/ 94 w 458"/>
                <a:gd name="T93" fmla="*/ 563 h 729"/>
                <a:gd name="T94" fmla="*/ 131 w 458"/>
                <a:gd name="T95" fmla="*/ 510 h 729"/>
                <a:gd name="T96" fmla="*/ 134 w 458"/>
                <a:gd name="T97" fmla="*/ 448 h 729"/>
                <a:gd name="T98" fmla="*/ 182 w 458"/>
                <a:gd name="T99" fmla="*/ 373 h 729"/>
                <a:gd name="T100" fmla="*/ 277 w 458"/>
                <a:gd name="T101" fmla="*/ 40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8" h="729">
                  <a:moveTo>
                    <a:pt x="235" y="729"/>
                  </a:moveTo>
                  <a:cubicBezTo>
                    <a:pt x="224" y="729"/>
                    <a:pt x="212" y="726"/>
                    <a:pt x="199" y="719"/>
                  </a:cubicBezTo>
                  <a:cubicBezTo>
                    <a:pt x="167" y="705"/>
                    <a:pt x="149" y="691"/>
                    <a:pt x="145" y="676"/>
                  </a:cubicBezTo>
                  <a:cubicBezTo>
                    <a:pt x="143" y="669"/>
                    <a:pt x="145" y="664"/>
                    <a:pt x="146" y="662"/>
                  </a:cubicBezTo>
                  <a:cubicBezTo>
                    <a:pt x="147" y="660"/>
                    <a:pt x="154" y="645"/>
                    <a:pt x="168" y="614"/>
                  </a:cubicBezTo>
                  <a:cubicBezTo>
                    <a:pt x="181" y="584"/>
                    <a:pt x="197" y="577"/>
                    <a:pt x="203" y="575"/>
                  </a:cubicBezTo>
                  <a:cubicBezTo>
                    <a:pt x="209" y="559"/>
                    <a:pt x="249" y="457"/>
                    <a:pt x="264" y="416"/>
                  </a:cubicBezTo>
                  <a:cubicBezTo>
                    <a:pt x="246" y="418"/>
                    <a:pt x="229" y="415"/>
                    <a:pt x="213" y="408"/>
                  </a:cubicBezTo>
                  <a:cubicBezTo>
                    <a:pt x="198" y="401"/>
                    <a:pt x="188" y="395"/>
                    <a:pt x="178" y="383"/>
                  </a:cubicBezTo>
                  <a:cubicBezTo>
                    <a:pt x="160" y="415"/>
                    <a:pt x="148" y="439"/>
                    <a:pt x="143" y="449"/>
                  </a:cubicBezTo>
                  <a:cubicBezTo>
                    <a:pt x="155" y="464"/>
                    <a:pt x="145" y="498"/>
                    <a:pt x="139" y="513"/>
                  </a:cubicBezTo>
                  <a:cubicBezTo>
                    <a:pt x="132" y="534"/>
                    <a:pt x="121" y="556"/>
                    <a:pt x="119" y="559"/>
                  </a:cubicBezTo>
                  <a:cubicBezTo>
                    <a:pt x="118" y="561"/>
                    <a:pt x="113" y="571"/>
                    <a:pt x="94" y="571"/>
                  </a:cubicBezTo>
                  <a:cubicBezTo>
                    <a:pt x="81" y="571"/>
                    <a:pt x="63" y="566"/>
                    <a:pt x="42" y="557"/>
                  </a:cubicBezTo>
                  <a:cubicBezTo>
                    <a:pt x="21" y="547"/>
                    <a:pt x="8" y="536"/>
                    <a:pt x="4" y="524"/>
                  </a:cubicBezTo>
                  <a:cubicBezTo>
                    <a:pt x="0" y="514"/>
                    <a:pt x="4" y="507"/>
                    <a:pt x="4" y="506"/>
                  </a:cubicBezTo>
                  <a:cubicBezTo>
                    <a:pt x="4" y="505"/>
                    <a:pt x="14" y="486"/>
                    <a:pt x="29" y="464"/>
                  </a:cubicBezTo>
                  <a:cubicBezTo>
                    <a:pt x="53" y="428"/>
                    <a:pt x="80" y="422"/>
                    <a:pt x="88" y="422"/>
                  </a:cubicBezTo>
                  <a:cubicBezTo>
                    <a:pt x="102" y="401"/>
                    <a:pt x="118" y="381"/>
                    <a:pt x="131" y="364"/>
                  </a:cubicBezTo>
                  <a:cubicBezTo>
                    <a:pt x="142" y="350"/>
                    <a:pt x="151" y="338"/>
                    <a:pt x="156" y="330"/>
                  </a:cubicBezTo>
                  <a:cubicBezTo>
                    <a:pt x="155" y="314"/>
                    <a:pt x="157" y="297"/>
                    <a:pt x="163" y="283"/>
                  </a:cubicBezTo>
                  <a:cubicBezTo>
                    <a:pt x="163" y="282"/>
                    <a:pt x="163" y="281"/>
                    <a:pt x="164" y="279"/>
                  </a:cubicBezTo>
                  <a:cubicBezTo>
                    <a:pt x="164" y="279"/>
                    <a:pt x="164" y="278"/>
                    <a:pt x="164" y="278"/>
                  </a:cubicBezTo>
                  <a:cubicBezTo>
                    <a:pt x="167" y="272"/>
                    <a:pt x="174" y="259"/>
                    <a:pt x="186" y="245"/>
                  </a:cubicBezTo>
                  <a:cubicBezTo>
                    <a:pt x="172" y="232"/>
                    <a:pt x="154" y="211"/>
                    <a:pt x="143" y="179"/>
                  </a:cubicBezTo>
                  <a:cubicBezTo>
                    <a:pt x="127" y="134"/>
                    <a:pt x="151" y="93"/>
                    <a:pt x="162" y="78"/>
                  </a:cubicBezTo>
                  <a:cubicBezTo>
                    <a:pt x="154" y="64"/>
                    <a:pt x="153" y="46"/>
                    <a:pt x="160" y="31"/>
                  </a:cubicBezTo>
                  <a:cubicBezTo>
                    <a:pt x="168" y="12"/>
                    <a:pt x="187" y="0"/>
                    <a:pt x="207" y="0"/>
                  </a:cubicBezTo>
                  <a:cubicBezTo>
                    <a:pt x="215" y="0"/>
                    <a:pt x="222" y="2"/>
                    <a:pt x="229" y="5"/>
                  </a:cubicBezTo>
                  <a:cubicBezTo>
                    <a:pt x="255" y="17"/>
                    <a:pt x="267" y="48"/>
                    <a:pt x="255" y="74"/>
                  </a:cubicBezTo>
                  <a:cubicBezTo>
                    <a:pt x="247" y="93"/>
                    <a:pt x="228" y="105"/>
                    <a:pt x="207" y="105"/>
                  </a:cubicBezTo>
                  <a:cubicBezTo>
                    <a:pt x="205" y="105"/>
                    <a:pt x="202" y="105"/>
                    <a:pt x="200" y="104"/>
                  </a:cubicBezTo>
                  <a:cubicBezTo>
                    <a:pt x="195" y="112"/>
                    <a:pt x="178" y="138"/>
                    <a:pt x="187" y="163"/>
                  </a:cubicBezTo>
                  <a:cubicBezTo>
                    <a:pt x="198" y="193"/>
                    <a:pt x="218" y="210"/>
                    <a:pt x="224" y="214"/>
                  </a:cubicBezTo>
                  <a:cubicBezTo>
                    <a:pt x="237" y="207"/>
                    <a:pt x="248" y="203"/>
                    <a:pt x="256" y="201"/>
                  </a:cubicBezTo>
                  <a:cubicBezTo>
                    <a:pt x="258" y="197"/>
                    <a:pt x="263" y="189"/>
                    <a:pt x="265" y="184"/>
                  </a:cubicBezTo>
                  <a:cubicBezTo>
                    <a:pt x="275" y="167"/>
                    <a:pt x="290" y="158"/>
                    <a:pt x="306" y="158"/>
                  </a:cubicBezTo>
                  <a:cubicBezTo>
                    <a:pt x="312" y="158"/>
                    <a:pt x="319" y="159"/>
                    <a:pt x="325" y="162"/>
                  </a:cubicBezTo>
                  <a:cubicBezTo>
                    <a:pt x="347" y="172"/>
                    <a:pt x="356" y="195"/>
                    <a:pt x="347" y="221"/>
                  </a:cubicBezTo>
                  <a:cubicBezTo>
                    <a:pt x="346" y="226"/>
                    <a:pt x="342" y="235"/>
                    <a:pt x="340" y="239"/>
                  </a:cubicBezTo>
                  <a:cubicBezTo>
                    <a:pt x="346" y="250"/>
                    <a:pt x="350" y="261"/>
                    <a:pt x="352" y="273"/>
                  </a:cubicBezTo>
                  <a:cubicBezTo>
                    <a:pt x="365" y="278"/>
                    <a:pt x="377" y="285"/>
                    <a:pt x="388" y="294"/>
                  </a:cubicBezTo>
                  <a:cubicBezTo>
                    <a:pt x="426" y="323"/>
                    <a:pt x="427" y="370"/>
                    <a:pt x="426" y="388"/>
                  </a:cubicBezTo>
                  <a:cubicBezTo>
                    <a:pt x="441" y="396"/>
                    <a:pt x="451" y="410"/>
                    <a:pt x="454" y="427"/>
                  </a:cubicBezTo>
                  <a:cubicBezTo>
                    <a:pt x="458" y="456"/>
                    <a:pt x="438" y="482"/>
                    <a:pt x="409" y="486"/>
                  </a:cubicBezTo>
                  <a:cubicBezTo>
                    <a:pt x="407" y="487"/>
                    <a:pt x="404" y="487"/>
                    <a:pt x="402" y="487"/>
                  </a:cubicBezTo>
                  <a:cubicBezTo>
                    <a:pt x="376" y="487"/>
                    <a:pt x="354" y="468"/>
                    <a:pt x="350" y="442"/>
                  </a:cubicBezTo>
                  <a:cubicBezTo>
                    <a:pt x="347" y="419"/>
                    <a:pt x="359" y="397"/>
                    <a:pt x="380" y="387"/>
                  </a:cubicBezTo>
                  <a:cubicBezTo>
                    <a:pt x="381" y="378"/>
                    <a:pt x="380" y="347"/>
                    <a:pt x="359" y="331"/>
                  </a:cubicBezTo>
                  <a:cubicBezTo>
                    <a:pt x="357" y="329"/>
                    <a:pt x="355" y="328"/>
                    <a:pt x="353" y="326"/>
                  </a:cubicBezTo>
                  <a:cubicBezTo>
                    <a:pt x="351" y="339"/>
                    <a:pt x="347" y="349"/>
                    <a:pt x="344" y="355"/>
                  </a:cubicBezTo>
                  <a:cubicBezTo>
                    <a:pt x="344" y="355"/>
                    <a:pt x="344" y="355"/>
                    <a:pt x="344" y="355"/>
                  </a:cubicBezTo>
                  <a:cubicBezTo>
                    <a:pt x="343" y="359"/>
                    <a:pt x="343" y="359"/>
                    <a:pt x="343" y="359"/>
                  </a:cubicBezTo>
                  <a:cubicBezTo>
                    <a:pt x="337" y="372"/>
                    <a:pt x="329" y="383"/>
                    <a:pt x="319" y="392"/>
                  </a:cubicBezTo>
                  <a:cubicBezTo>
                    <a:pt x="316" y="407"/>
                    <a:pt x="296" y="530"/>
                    <a:pt x="271" y="603"/>
                  </a:cubicBezTo>
                  <a:cubicBezTo>
                    <a:pt x="277" y="610"/>
                    <a:pt x="287" y="630"/>
                    <a:pt x="277" y="669"/>
                  </a:cubicBezTo>
                  <a:cubicBezTo>
                    <a:pt x="270" y="693"/>
                    <a:pt x="262" y="714"/>
                    <a:pt x="262" y="715"/>
                  </a:cubicBezTo>
                  <a:cubicBezTo>
                    <a:pt x="261" y="715"/>
                    <a:pt x="256" y="729"/>
                    <a:pt x="235" y="729"/>
                  </a:cubicBezTo>
                  <a:close/>
                  <a:moveTo>
                    <a:pt x="277" y="405"/>
                  </a:moveTo>
                  <a:cubicBezTo>
                    <a:pt x="274" y="412"/>
                    <a:pt x="274" y="412"/>
                    <a:pt x="274" y="412"/>
                  </a:cubicBezTo>
                  <a:cubicBezTo>
                    <a:pt x="261" y="450"/>
                    <a:pt x="211" y="579"/>
                    <a:pt x="210" y="580"/>
                  </a:cubicBezTo>
                  <a:cubicBezTo>
                    <a:pt x="209" y="582"/>
                    <a:pt x="209" y="582"/>
                    <a:pt x="209" y="582"/>
                  </a:cubicBezTo>
                  <a:cubicBezTo>
                    <a:pt x="207" y="583"/>
                    <a:pt x="207" y="583"/>
                    <a:pt x="207" y="583"/>
                  </a:cubicBezTo>
                  <a:cubicBezTo>
                    <a:pt x="207" y="583"/>
                    <a:pt x="190" y="585"/>
                    <a:pt x="176" y="618"/>
                  </a:cubicBezTo>
                  <a:cubicBezTo>
                    <a:pt x="161" y="650"/>
                    <a:pt x="154" y="666"/>
                    <a:pt x="154" y="666"/>
                  </a:cubicBezTo>
                  <a:cubicBezTo>
                    <a:pt x="153" y="667"/>
                    <a:pt x="153" y="667"/>
                    <a:pt x="153" y="667"/>
                  </a:cubicBezTo>
                  <a:cubicBezTo>
                    <a:pt x="154" y="667"/>
                    <a:pt x="152" y="669"/>
                    <a:pt x="154" y="674"/>
                  </a:cubicBezTo>
                  <a:cubicBezTo>
                    <a:pt x="156" y="681"/>
                    <a:pt x="165" y="695"/>
                    <a:pt x="202" y="711"/>
                  </a:cubicBezTo>
                  <a:cubicBezTo>
                    <a:pt x="215" y="717"/>
                    <a:pt x="226" y="720"/>
                    <a:pt x="235" y="720"/>
                  </a:cubicBezTo>
                  <a:cubicBezTo>
                    <a:pt x="250" y="720"/>
                    <a:pt x="253" y="712"/>
                    <a:pt x="254" y="711"/>
                  </a:cubicBezTo>
                  <a:cubicBezTo>
                    <a:pt x="254" y="711"/>
                    <a:pt x="262" y="691"/>
                    <a:pt x="269" y="666"/>
                  </a:cubicBezTo>
                  <a:cubicBezTo>
                    <a:pt x="279" y="628"/>
                    <a:pt x="267" y="611"/>
                    <a:pt x="263" y="606"/>
                  </a:cubicBezTo>
                  <a:cubicBezTo>
                    <a:pt x="261" y="604"/>
                    <a:pt x="261" y="604"/>
                    <a:pt x="261" y="604"/>
                  </a:cubicBezTo>
                  <a:cubicBezTo>
                    <a:pt x="262" y="602"/>
                    <a:pt x="262" y="602"/>
                    <a:pt x="262" y="602"/>
                  </a:cubicBezTo>
                  <a:cubicBezTo>
                    <a:pt x="289" y="526"/>
                    <a:pt x="310" y="390"/>
                    <a:pt x="311" y="389"/>
                  </a:cubicBezTo>
                  <a:cubicBezTo>
                    <a:pt x="311" y="387"/>
                    <a:pt x="311" y="387"/>
                    <a:pt x="311" y="387"/>
                  </a:cubicBezTo>
                  <a:cubicBezTo>
                    <a:pt x="312" y="386"/>
                    <a:pt x="312" y="386"/>
                    <a:pt x="312" y="386"/>
                  </a:cubicBezTo>
                  <a:cubicBezTo>
                    <a:pt x="321" y="379"/>
                    <a:pt x="328" y="370"/>
                    <a:pt x="333" y="360"/>
                  </a:cubicBezTo>
                  <a:cubicBezTo>
                    <a:pt x="335" y="356"/>
                    <a:pt x="335" y="356"/>
                    <a:pt x="335" y="356"/>
                  </a:cubicBezTo>
                  <a:cubicBezTo>
                    <a:pt x="337" y="351"/>
                    <a:pt x="343" y="337"/>
                    <a:pt x="345" y="318"/>
                  </a:cubicBezTo>
                  <a:cubicBezTo>
                    <a:pt x="346" y="312"/>
                    <a:pt x="346" y="312"/>
                    <a:pt x="346" y="312"/>
                  </a:cubicBezTo>
                  <a:cubicBezTo>
                    <a:pt x="352" y="315"/>
                    <a:pt x="352" y="315"/>
                    <a:pt x="352" y="315"/>
                  </a:cubicBezTo>
                  <a:cubicBezTo>
                    <a:pt x="356" y="318"/>
                    <a:pt x="361" y="321"/>
                    <a:pt x="364" y="324"/>
                  </a:cubicBezTo>
                  <a:cubicBezTo>
                    <a:pt x="393" y="346"/>
                    <a:pt x="389" y="389"/>
                    <a:pt x="389" y="390"/>
                  </a:cubicBezTo>
                  <a:cubicBezTo>
                    <a:pt x="388" y="393"/>
                    <a:pt x="388" y="393"/>
                    <a:pt x="388" y="393"/>
                  </a:cubicBezTo>
                  <a:cubicBezTo>
                    <a:pt x="386" y="394"/>
                    <a:pt x="386" y="394"/>
                    <a:pt x="386" y="394"/>
                  </a:cubicBezTo>
                  <a:cubicBezTo>
                    <a:pt x="367" y="401"/>
                    <a:pt x="356" y="421"/>
                    <a:pt x="359" y="441"/>
                  </a:cubicBezTo>
                  <a:cubicBezTo>
                    <a:pt x="362" y="462"/>
                    <a:pt x="380" y="478"/>
                    <a:pt x="402" y="478"/>
                  </a:cubicBezTo>
                  <a:cubicBezTo>
                    <a:pt x="404" y="478"/>
                    <a:pt x="406" y="478"/>
                    <a:pt x="408" y="478"/>
                  </a:cubicBezTo>
                  <a:cubicBezTo>
                    <a:pt x="432" y="474"/>
                    <a:pt x="448" y="452"/>
                    <a:pt x="445" y="428"/>
                  </a:cubicBezTo>
                  <a:cubicBezTo>
                    <a:pt x="443" y="414"/>
                    <a:pt x="434" y="401"/>
                    <a:pt x="420" y="395"/>
                  </a:cubicBezTo>
                  <a:cubicBezTo>
                    <a:pt x="417" y="394"/>
                    <a:pt x="417" y="394"/>
                    <a:pt x="417" y="394"/>
                  </a:cubicBezTo>
                  <a:cubicBezTo>
                    <a:pt x="418" y="391"/>
                    <a:pt x="418" y="391"/>
                    <a:pt x="418" y="391"/>
                  </a:cubicBezTo>
                  <a:cubicBezTo>
                    <a:pt x="419" y="377"/>
                    <a:pt x="419" y="329"/>
                    <a:pt x="383" y="300"/>
                  </a:cubicBezTo>
                  <a:cubicBezTo>
                    <a:pt x="371" y="292"/>
                    <a:pt x="359" y="285"/>
                    <a:pt x="347" y="280"/>
                  </a:cubicBezTo>
                  <a:cubicBezTo>
                    <a:pt x="345" y="279"/>
                    <a:pt x="345" y="279"/>
                    <a:pt x="345" y="279"/>
                  </a:cubicBezTo>
                  <a:cubicBezTo>
                    <a:pt x="344" y="277"/>
                    <a:pt x="344" y="277"/>
                    <a:pt x="344" y="277"/>
                  </a:cubicBezTo>
                  <a:cubicBezTo>
                    <a:pt x="341" y="261"/>
                    <a:pt x="336" y="249"/>
                    <a:pt x="332" y="241"/>
                  </a:cubicBezTo>
                  <a:cubicBezTo>
                    <a:pt x="331" y="240"/>
                    <a:pt x="331" y="240"/>
                    <a:pt x="331" y="240"/>
                  </a:cubicBezTo>
                  <a:cubicBezTo>
                    <a:pt x="332" y="238"/>
                    <a:pt x="332" y="238"/>
                    <a:pt x="332" y="238"/>
                  </a:cubicBezTo>
                  <a:cubicBezTo>
                    <a:pt x="333" y="234"/>
                    <a:pt x="337" y="224"/>
                    <a:pt x="339" y="218"/>
                  </a:cubicBezTo>
                  <a:cubicBezTo>
                    <a:pt x="347" y="197"/>
                    <a:pt x="340" y="178"/>
                    <a:pt x="321" y="170"/>
                  </a:cubicBezTo>
                  <a:cubicBezTo>
                    <a:pt x="316" y="167"/>
                    <a:pt x="311" y="166"/>
                    <a:pt x="306" y="166"/>
                  </a:cubicBezTo>
                  <a:cubicBezTo>
                    <a:pt x="293" y="166"/>
                    <a:pt x="281" y="174"/>
                    <a:pt x="273" y="188"/>
                  </a:cubicBezTo>
                  <a:cubicBezTo>
                    <a:pt x="270" y="194"/>
                    <a:pt x="264" y="204"/>
                    <a:pt x="263" y="207"/>
                  </a:cubicBezTo>
                  <a:cubicBezTo>
                    <a:pt x="262" y="208"/>
                    <a:pt x="262" y="208"/>
                    <a:pt x="262" y="208"/>
                  </a:cubicBezTo>
                  <a:cubicBezTo>
                    <a:pt x="260" y="209"/>
                    <a:pt x="260" y="209"/>
                    <a:pt x="260" y="209"/>
                  </a:cubicBezTo>
                  <a:cubicBezTo>
                    <a:pt x="252" y="211"/>
                    <a:pt x="240" y="215"/>
                    <a:pt x="226" y="223"/>
                  </a:cubicBezTo>
                  <a:cubicBezTo>
                    <a:pt x="223" y="224"/>
                    <a:pt x="223" y="224"/>
                    <a:pt x="223" y="224"/>
                  </a:cubicBezTo>
                  <a:cubicBezTo>
                    <a:pt x="221" y="223"/>
                    <a:pt x="221" y="223"/>
                    <a:pt x="221" y="223"/>
                  </a:cubicBezTo>
                  <a:cubicBezTo>
                    <a:pt x="220" y="222"/>
                    <a:pt x="193" y="205"/>
                    <a:pt x="179" y="166"/>
                  </a:cubicBezTo>
                  <a:cubicBezTo>
                    <a:pt x="167" y="132"/>
                    <a:pt x="193" y="98"/>
                    <a:pt x="195" y="97"/>
                  </a:cubicBezTo>
                  <a:cubicBezTo>
                    <a:pt x="196" y="95"/>
                    <a:pt x="196" y="95"/>
                    <a:pt x="196" y="95"/>
                  </a:cubicBezTo>
                  <a:cubicBezTo>
                    <a:pt x="199" y="95"/>
                    <a:pt x="199" y="95"/>
                    <a:pt x="199" y="95"/>
                  </a:cubicBezTo>
                  <a:cubicBezTo>
                    <a:pt x="202" y="96"/>
                    <a:pt x="204" y="96"/>
                    <a:pt x="207" y="96"/>
                  </a:cubicBezTo>
                  <a:cubicBezTo>
                    <a:pt x="224" y="96"/>
                    <a:pt x="240" y="86"/>
                    <a:pt x="247" y="71"/>
                  </a:cubicBezTo>
                  <a:cubicBezTo>
                    <a:pt x="257" y="49"/>
                    <a:pt x="247" y="23"/>
                    <a:pt x="225" y="13"/>
                  </a:cubicBezTo>
                  <a:cubicBezTo>
                    <a:pt x="220" y="10"/>
                    <a:pt x="214" y="9"/>
                    <a:pt x="207" y="9"/>
                  </a:cubicBezTo>
                  <a:cubicBezTo>
                    <a:pt x="190" y="9"/>
                    <a:pt x="175" y="19"/>
                    <a:pt x="168" y="35"/>
                  </a:cubicBezTo>
                  <a:cubicBezTo>
                    <a:pt x="161" y="48"/>
                    <a:pt x="163" y="64"/>
                    <a:pt x="171" y="76"/>
                  </a:cubicBezTo>
                  <a:cubicBezTo>
                    <a:pt x="172" y="79"/>
                    <a:pt x="172" y="79"/>
                    <a:pt x="172" y="79"/>
                  </a:cubicBezTo>
                  <a:cubicBezTo>
                    <a:pt x="170" y="81"/>
                    <a:pt x="170" y="81"/>
                    <a:pt x="170" y="81"/>
                  </a:cubicBezTo>
                  <a:cubicBezTo>
                    <a:pt x="162" y="92"/>
                    <a:pt x="135" y="132"/>
                    <a:pt x="151" y="176"/>
                  </a:cubicBezTo>
                  <a:cubicBezTo>
                    <a:pt x="163" y="209"/>
                    <a:pt x="182" y="229"/>
                    <a:pt x="195" y="241"/>
                  </a:cubicBezTo>
                  <a:cubicBezTo>
                    <a:pt x="199" y="244"/>
                    <a:pt x="199" y="244"/>
                    <a:pt x="199" y="244"/>
                  </a:cubicBezTo>
                  <a:cubicBezTo>
                    <a:pt x="196" y="247"/>
                    <a:pt x="196" y="247"/>
                    <a:pt x="196" y="247"/>
                  </a:cubicBezTo>
                  <a:cubicBezTo>
                    <a:pt x="182" y="262"/>
                    <a:pt x="175" y="276"/>
                    <a:pt x="172" y="282"/>
                  </a:cubicBezTo>
                  <a:cubicBezTo>
                    <a:pt x="172" y="282"/>
                    <a:pt x="172" y="282"/>
                    <a:pt x="172" y="282"/>
                  </a:cubicBezTo>
                  <a:cubicBezTo>
                    <a:pt x="171" y="284"/>
                    <a:pt x="171" y="285"/>
                    <a:pt x="171" y="285"/>
                  </a:cubicBezTo>
                  <a:cubicBezTo>
                    <a:pt x="165" y="300"/>
                    <a:pt x="163" y="315"/>
                    <a:pt x="165" y="330"/>
                  </a:cubicBezTo>
                  <a:cubicBezTo>
                    <a:pt x="165" y="332"/>
                    <a:pt x="165" y="332"/>
                    <a:pt x="165" y="332"/>
                  </a:cubicBezTo>
                  <a:cubicBezTo>
                    <a:pt x="164" y="333"/>
                    <a:pt x="164" y="333"/>
                    <a:pt x="164" y="333"/>
                  </a:cubicBezTo>
                  <a:cubicBezTo>
                    <a:pt x="159" y="341"/>
                    <a:pt x="150" y="354"/>
                    <a:pt x="138" y="369"/>
                  </a:cubicBezTo>
                  <a:cubicBezTo>
                    <a:pt x="125" y="386"/>
                    <a:pt x="108" y="408"/>
                    <a:pt x="94" y="428"/>
                  </a:cubicBezTo>
                  <a:cubicBezTo>
                    <a:pt x="92" y="430"/>
                    <a:pt x="92" y="430"/>
                    <a:pt x="92" y="430"/>
                  </a:cubicBezTo>
                  <a:cubicBezTo>
                    <a:pt x="90" y="430"/>
                    <a:pt x="90" y="430"/>
                    <a:pt x="90" y="430"/>
                  </a:cubicBezTo>
                  <a:cubicBezTo>
                    <a:pt x="89" y="430"/>
                    <a:pt x="62" y="431"/>
                    <a:pt x="36" y="469"/>
                  </a:cubicBezTo>
                  <a:cubicBezTo>
                    <a:pt x="22" y="490"/>
                    <a:pt x="12" y="510"/>
                    <a:pt x="12" y="510"/>
                  </a:cubicBezTo>
                  <a:cubicBezTo>
                    <a:pt x="12" y="510"/>
                    <a:pt x="10" y="515"/>
                    <a:pt x="12" y="521"/>
                  </a:cubicBezTo>
                  <a:cubicBezTo>
                    <a:pt x="15" y="528"/>
                    <a:pt x="22" y="538"/>
                    <a:pt x="45" y="549"/>
                  </a:cubicBezTo>
                  <a:cubicBezTo>
                    <a:pt x="66" y="558"/>
                    <a:pt x="82" y="563"/>
                    <a:pt x="94" y="563"/>
                  </a:cubicBezTo>
                  <a:cubicBezTo>
                    <a:pt x="109" y="563"/>
                    <a:pt x="111" y="556"/>
                    <a:pt x="111" y="556"/>
                  </a:cubicBezTo>
                  <a:cubicBezTo>
                    <a:pt x="112" y="555"/>
                    <a:pt x="112" y="555"/>
                    <a:pt x="112" y="555"/>
                  </a:cubicBezTo>
                  <a:cubicBezTo>
                    <a:pt x="112" y="555"/>
                    <a:pt x="123" y="532"/>
                    <a:pt x="131" y="510"/>
                  </a:cubicBezTo>
                  <a:cubicBezTo>
                    <a:pt x="141" y="482"/>
                    <a:pt x="143" y="460"/>
                    <a:pt x="135" y="453"/>
                  </a:cubicBezTo>
                  <a:cubicBezTo>
                    <a:pt x="133" y="451"/>
                    <a:pt x="133" y="451"/>
                    <a:pt x="133" y="451"/>
                  </a:cubicBezTo>
                  <a:cubicBezTo>
                    <a:pt x="134" y="448"/>
                    <a:pt x="134" y="448"/>
                    <a:pt x="134" y="448"/>
                  </a:cubicBezTo>
                  <a:cubicBezTo>
                    <a:pt x="138" y="440"/>
                    <a:pt x="152" y="411"/>
                    <a:pt x="174" y="373"/>
                  </a:cubicBezTo>
                  <a:cubicBezTo>
                    <a:pt x="178" y="368"/>
                    <a:pt x="178" y="368"/>
                    <a:pt x="178" y="368"/>
                  </a:cubicBezTo>
                  <a:cubicBezTo>
                    <a:pt x="182" y="373"/>
                    <a:pt x="182" y="373"/>
                    <a:pt x="182" y="373"/>
                  </a:cubicBezTo>
                  <a:cubicBezTo>
                    <a:pt x="191" y="387"/>
                    <a:pt x="201" y="393"/>
                    <a:pt x="217" y="400"/>
                  </a:cubicBezTo>
                  <a:cubicBezTo>
                    <a:pt x="233" y="408"/>
                    <a:pt x="252" y="410"/>
                    <a:pt x="270" y="407"/>
                  </a:cubicBezTo>
                  <a:lnTo>
                    <a:pt x="277" y="4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cxnSp>
        <p:nvCxnSpPr>
          <p:cNvPr id="79" name="Straight Connector 78"/>
          <p:cNvCxnSpPr/>
          <p:nvPr userDrawn="1"/>
        </p:nvCxnSpPr>
        <p:spPr>
          <a:xfrm flipV="1">
            <a:off x="8817164" y="5312230"/>
            <a:ext cx="2131487" cy="3636525"/>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0" name="Title 1"/>
          <p:cNvSpPr>
            <a:spLocks noGrp="1"/>
          </p:cNvSpPr>
          <p:nvPr>
            <p:ph type="ctrTitle" hasCustomPrompt="1"/>
          </p:nvPr>
        </p:nvSpPr>
        <p:spPr bwMode="gray">
          <a:xfrm>
            <a:off x="265245" y="1804969"/>
            <a:ext cx="6905518" cy="1505027"/>
          </a:xfrm>
        </p:spPr>
        <p:txBody>
          <a:bodyPr/>
          <a:lstStyle>
            <a:lvl1pPr marL="0" algn="l" defTabSz="914400" rtl="0" eaLnBrk="1" latinLnBrk="0" hangingPunct="1">
              <a:lnSpc>
                <a:spcPct val="85000"/>
              </a:lnSpc>
              <a:spcBef>
                <a:spcPct val="0"/>
              </a:spcBef>
              <a:buNone/>
              <a:defRPr lang="en-US" sz="5400" kern="1200" dirty="0">
                <a:solidFill>
                  <a:srgbClr val="FFFFFF"/>
                </a:solidFill>
                <a:latin typeface="Qualcomm Office Bold" pitchFamily="34" charset="0"/>
                <a:ea typeface="+mj-ea"/>
                <a:cs typeface="Arial" pitchFamily="34" charset="0"/>
              </a:defRPr>
            </a:lvl1pPr>
          </a:lstStyle>
          <a:p>
            <a:r>
              <a:rPr lang="en-US"/>
              <a:t>Click here to edit master</a:t>
            </a:r>
          </a:p>
        </p:txBody>
      </p:sp>
      <p:grpSp>
        <p:nvGrpSpPr>
          <p:cNvPr id="81" name="Group 80"/>
          <p:cNvGrpSpPr/>
          <p:nvPr userDrawn="1"/>
        </p:nvGrpSpPr>
        <p:grpSpPr>
          <a:xfrm>
            <a:off x="383349" y="1567586"/>
            <a:ext cx="6805707" cy="1936642"/>
            <a:chOff x="383249" y="1567586"/>
            <a:chExt cx="6803935" cy="1936642"/>
          </a:xfrm>
        </p:grpSpPr>
        <p:cxnSp>
          <p:nvCxnSpPr>
            <p:cNvPr id="82" name="Straight Connector 81"/>
            <p:cNvCxnSpPr/>
            <p:nvPr userDrawn="1"/>
          </p:nvCxnSpPr>
          <p:spPr>
            <a:xfrm>
              <a:off x="383249" y="1567586"/>
              <a:ext cx="6803136"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a:off x="384048" y="3504228"/>
              <a:ext cx="6803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4" name="Subtitle 2"/>
          <p:cNvSpPr>
            <a:spLocks noGrp="1"/>
          </p:cNvSpPr>
          <p:nvPr>
            <p:ph type="subTitle" idx="1" hasCustomPrompt="1"/>
          </p:nvPr>
        </p:nvSpPr>
        <p:spPr bwMode="gray">
          <a:xfrm>
            <a:off x="265245" y="598753"/>
            <a:ext cx="6905518" cy="775597"/>
          </a:xfrm>
          <a:prstGeom prst="rect">
            <a:avLst/>
          </a:prstGeom>
        </p:spPr>
        <p:txBody>
          <a:bodyPr>
            <a:spAutoFit/>
          </a:bodyPr>
          <a:lstStyle>
            <a:lvl1pPr marL="0" indent="0" algn="l" defTabSz="914400" rtl="0" eaLnBrk="1" latinLnBrk="0" hangingPunct="1">
              <a:lnSpc>
                <a:spcPct val="90000"/>
              </a:lnSpc>
              <a:spcBef>
                <a:spcPct val="0"/>
              </a:spcBef>
              <a:buNone/>
              <a:defRPr lang="en-US" sz="2800" kern="1200" dirty="0">
                <a:solidFill>
                  <a:srgbClr val="FFFFFF"/>
                </a:solidFill>
                <a:latin typeface="Qualcomm Office Regular" pitchFamily="34" charset="0"/>
                <a:ea typeface="+mj-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here to edit  name </a:t>
            </a:r>
            <a:br>
              <a:rPr lang="en-US"/>
            </a:br>
            <a:r>
              <a:rPr lang="en-US"/>
              <a:t>and title</a:t>
            </a:r>
          </a:p>
        </p:txBody>
      </p:sp>
      <p:grpSp>
        <p:nvGrpSpPr>
          <p:cNvPr id="94" name="Group 93"/>
          <p:cNvGrpSpPr>
            <a:grpSpLocks noChangeAspect="1"/>
          </p:cNvGrpSpPr>
          <p:nvPr userDrawn="1"/>
        </p:nvGrpSpPr>
        <p:grpSpPr>
          <a:xfrm>
            <a:off x="391378" y="3809824"/>
            <a:ext cx="2097004" cy="457200"/>
            <a:chOff x="187326" y="5085556"/>
            <a:chExt cx="8393112" cy="1830388"/>
          </a:xfrm>
          <a:solidFill>
            <a:schemeClr val="bg1"/>
          </a:solidFill>
        </p:grpSpPr>
        <p:sp>
          <p:nvSpPr>
            <p:cNvPr id="95"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6"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7"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8"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99"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0"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1"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sp>
          <p:nvSpPr>
            <p:cNvPr id="102"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Qualcomm Office Regular" pitchFamily="34" charset="0"/>
              </a:endParaRPr>
            </a:p>
          </p:txBody>
        </p:sp>
      </p:grpSp>
      <p:sp>
        <p:nvSpPr>
          <p:cNvPr id="2" name="Rectangle 1"/>
          <p:cNvSpPr/>
          <p:nvPr userDrawn="1"/>
        </p:nvSpPr>
        <p:spPr>
          <a:xfrm>
            <a:off x="265246" y="6559841"/>
            <a:ext cx="6094412" cy="215444"/>
          </a:xfrm>
          <a:prstGeom prst="rect">
            <a:avLst/>
          </a:prstGeom>
        </p:spPr>
        <p:txBody>
          <a:bodyPr>
            <a:spAutoFit/>
          </a:bodyPr>
          <a:lstStyle/>
          <a:p>
            <a:r>
              <a:rPr lang="en-US" sz="800">
                <a:solidFill>
                  <a:schemeClr val="bg1">
                    <a:lumMod val="75000"/>
                  </a:schemeClr>
                </a:solidFill>
                <a:latin typeface="Qualcomm Office Regular" pitchFamily="34" charset="0"/>
                <a:cs typeface="Arial" pitchFamily="34" charset="0"/>
              </a:rPr>
              <a:t>Qualcomm Technologies, Incorporated. All Rights Reserved.</a:t>
            </a:r>
          </a:p>
        </p:txBody>
      </p:sp>
    </p:spTree>
    <p:extLst>
      <p:ext uri="{BB962C8B-B14F-4D97-AF65-F5344CB8AC3E}">
        <p14:creationId xmlns:p14="http://schemas.microsoft.com/office/powerpoint/2010/main" val="1036453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5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6" presetClass="emph" presetSubtype="0" accel="100000" autoRev="1" fill="hold" nodeType="withEffect">
                                  <p:stCondLst>
                                    <p:cond delay="650"/>
                                  </p:stCondLst>
                                  <p:childTnLst>
                                    <p:animScale>
                                      <p:cBhvr>
                                        <p:cTn id="9" dur="500" fill="hold"/>
                                        <p:tgtEl>
                                          <p:spTgt spid="63"/>
                                        </p:tgtEl>
                                      </p:cBhvr>
                                      <p:by x="100000" y="0"/>
                                    </p:animScale>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750"/>
                                        <p:tgtEl>
                                          <p:spTgt spid="59"/>
                                        </p:tgtEl>
                                      </p:cBhvr>
                                    </p:animEffect>
                                  </p:childTnLst>
                                </p:cTn>
                              </p:par>
                              <p:par>
                                <p:cTn id="13" presetID="2" presetClass="entr" presetSubtype="8" decel="24000" fill="hold" nodeType="withEffect">
                                  <p:stCondLst>
                                    <p:cond delay="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800" fill="hold"/>
                                        <p:tgtEl>
                                          <p:spTgt spid="59"/>
                                        </p:tgtEl>
                                        <p:attrNameLst>
                                          <p:attrName>ppt_x</p:attrName>
                                        </p:attrNameLst>
                                      </p:cBhvr>
                                      <p:tavLst>
                                        <p:tav tm="0">
                                          <p:val>
                                            <p:strVal val="0-#ppt_w/2"/>
                                          </p:val>
                                        </p:tav>
                                        <p:tav tm="100000">
                                          <p:val>
                                            <p:strVal val="#ppt_x"/>
                                          </p:val>
                                        </p:tav>
                                      </p:tavLst>
                                    </p:anim>
                                    <p:anim calcmode="lin" valueType="num">
                                      <p:cBhvr additive="base">
                                        <p:cTn id="16" dur="800" fill="hold"/>
                                        <p:tgtEl>
                                          <p:spTgt spid="59"/>
                                        </p:tgtEl>
                                        <p:attrNameLst>
                                          <p:attrName>ppt_y</p:attrName>
                                        </p:attrNameLst>
                                      </p:cBhvr>
                                      <p:tavLst>
                                        <p:tav tm="0">
                                          <p:val>
                                            <p:strVal val="#ppt_y"/>
                                          </p:val>
                                        </p:tav>
                                        <p:tav tm="100000">
                                          <p:val>
                                            <p:strVal val="#ppt_y"/>
                                          </p:val>
                                        </p:tav>
                                      </p:tavLst>
                                    </p:anim>
                                  </p:childTnLst>
                                </p:cTn>
                              </p:par>
                              <p:par>
                                <p:cTn id="17" presetID="31" presetClass="entr" presetSubtype="0" fill="hold" nodeType="withEffect">
                                  <p:stCondLst>
                                    <p:cond delay="1000"/>
                                  </p:stCondLst>
                                  <p:childTnLst>
                                    <p:set>
                                      <p:cBhvr>
                                        <p:cTn id="18" dur="1" fill="hold">
                                          <p:stCondLst>
                                            <p:cond delay="0"/>
                                          </p:stCondLst>
                                        </p:cTn>
                                        <p:tgtEl>
                                          <p:spTgt spid="18"/>
                                        </p:tgtEl>
                                        <p:attrNameLst>
                                          <p:attrName>style.visibility</p:attrName>
                                        </p:attrNameLst>
                                      </p:cBhvr>
                                      <p:to>
                                        <p:strVal val="visible"/>
                                      </p:to>
                                    </p:set>
                                    <p:anim calcmode="lin" valueType="num">
                                      <p:cBhvr>
                                        <p:cTn id="19" dur="1000" fill="hold"/>
                                        <p:tgtEl>
                                          <p:spTgt spid="18"/>
                                        </p:tgtEl>
                                        <p:attrNameLst>
                                          <p:attrName>ppt_w</p:attrName>
                                        </p:attrNameLst>
                                      </p:cBhvr>
                                      <p:tavLst>
                                        <p:tav tm="0">
                                          <p:val>
                                            <p:fltVal val="0"/>
                                          </p:val>
                                        </p:tav>
                                        <p:tav tm="100000">
                                          <p:val>
                                            <p:strVal val="#ppt_w"/>
                                          </p:val>
                                        </p:tav>
                                      </p:tavLst>
                                    </p:anim>
                                    <p:anim calcmode="lin" valueType="num">
                                      <p:cBhvr>
                                        <p:cTn id="20" dur="1000" fill="hold"/>
                                        <p:tgtEl>
                                          <p:spTgt spid="18"/>
                                        </p:tgtEl>
                                        <p:attrNameLst>
                                          <p:attrName>ppt_h</p:attrName>
                                        </p:attrNameLst>
                                      </p:cBhvr>
                                      <p:tavLst>
                                        <p:tav tm="0">
                                          <p:val>
                                            <p:fltVal val="0"/>
                                          </p:val>
                                        </p:tav>
                                        <p:tav tm="100000">
                                          <p:val>
                                            <p:strVal val="#ppt_h"/>
                                          </p:val>
                                        </p:tav>
                                      </p:tavLst>
                                    </p:anim>
                                    <p:anim calcmode="lin" valueType="num">
                                      <p:cBhvr>
                                        <p:cTn id="21" dur="1000" fill="hold"/>
                                        <p:tgtEl>
                                          <p:spTgt spid="18"/>
                                        </p:tgtEl>
                                        <p:attrNameLst>
                                          <p:attrName>style.rotation</p:attrName>
                                        </p:attrNameLst>
                                      </p:cBhvr>
                                      <p:tavLst>
                                        <p:tav tm="0">
                                          <p:val>
                                            <p:fltVal val="90"/>
                                          </p:val>
                                        </p:tav>
                                        <p:tav tm="100000">
                                          <p:val>
                                            <p:fltVal val="0"/>
                                          </p:val>
                                        </p:tav>
                                      </p:tavLst>
                                    </p:anim>
                                    <p:animEffect transition="in" filter="fade">
                                      <p:cBhvr>
                                        <p:cTn id="22" dur="1000"/>
                                        <p:tgtEl>
                                          <p:spTgt spid="18"/>
                                        </p:tgtEl>
                                      </p:cBhvr>
                                    </p:animEffect>
                                  </p:childTnLst>
                                </p:cTn>
                              </p:par>
                              <p:par>
                                <p:cTn id="23" presetID="22" presetClass="entr" presetSubtype="1" fill="hold" nodeType="withEffect">
                                  <p:stCondLst>
                                    <p:cond delay="1500"/>
                                  </p:stCondLst>
                                  <p:childTnLst>
                                    <p:set>
                                      <p:cBhvr>
                                        <p:cTn id="24" dur="1" fill="hold">
                                          <p:stCondLst>
                                            <p:cond delay="0"/>
                                          </p:stCondLst>
                                        </p:cTn>
                                        <p:tgtEl>
                                          <p:spTgt spid="3"/>
                                        </p:tgtEl>
                                        <p:attrNameLst>
                                          <p:attrName>style.visibility</p:attrName>
                                        </p:attrNameLst>
                                      </p:cBhvr>
                                      <p:to>
                                        <p:strVal val="visible"/>
                                      </p:to>
                                    </p:set>
                                    <p:animEffect transition="in" filter="wipe(up)">
                                      <p:cBhvr>
                                        <p:cTn id="25" dur="500"/>
                                        <p:tgtEl>
                                          <p:spTgt spid="3"/>
                                        </p:tgtEl>
                                      </p:cBhvr>
                                    </p:animEffect>
                                  </p:childTnLst>
                                </p:cTn>
                              </p:par>
                              <p:par>
                                <p:cTn id="26" presetID="35" presetClass="entr" presetSubtype="0" fill="hold" nodeType="withEffect">
                                  <p:stCondLst>
                                    <p:cond delay="100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2000"/>
                                        <p:tgtEl>
                                          <p:spTgt spid="44"/>
                                        </p:tgtEl>
                                      </p:cBhvr>
                                    </p:animEffect>
                                    <p:anim calcmode="lin" valueType="num">
                                      <p:cBhvr>
                                        <p:cTn id="29" dur="2000" fill="hold"/>
                                        <p:tgtEl>
                                          <p:spTgt spid="44"/>
                                        </p:tgtEl>
                                        <p:attrNameLst>
                                          <p:attrName>style.rotation</p:attrName>
                                        </p:attrNameLst>
                                      </p:cBhvr>
                                      <p:tavLst>
                                        <p:tav tm="0">
                                          <p:val>
                                            <p:fltVal val="720"/>
                                          </p:val>
                                        </p:tav>
                                        <p:tav tm="100000">
                                          <p:val>
                                            <p:fltVal val="0"/>
                                          </p:val>
                                        </p:tav>
                                      </p:tavLst>
                                    </p:anim>
                                    <p:anim calcmode="lin" valueType="num">
                                      <p:cBhvr>
                                        <p:cTn id="30" dur="2000" fill="hold"/>
                                        <p:tgtEl>
                                          <p:spTgt spid="44"/>
                                        </p:tgtEl>
                                        <p:attrNameLst>
                                          <p:attrName>ppt_h</p:attrName>
                                        </p:attrNameLst>
                                      </p:cBhvr>
                                      <p:tavLst>
                                        <p:tav tm="0">
                                          <p:val>
                                            <p:fltVal val="0"/>
                                          </p:val>
                                        </p:tav>
                                        <p:tav tm="100000">
                                          <p:val>
                                            <p:strVal val="#ppt_h"/>
                                          </p:val>
                                        </p:tav>
                                      </p:tavLst>
                                    </p:anim>
                                    <p:anim calcmode="lin" valueType="num">
                                      <p:cBhvr>
                                        <p:cTn id="31" dur="2000" fill="hold"/>
                                        <p:tgtEl>
                                          <p:spTgt spid="44"/>
                                        </p:tgtEl>
                                        <p:attrNameLst>
                                          <p:attrName>ppt_w</p:attrName>
                                        </p:attrNameLst>
                                      </p:cBhvr>
                                      <p:tavLst>
                                        <p:tav tm="0">
                                          <p:val>
                                            <p:fltVal val="0"/>
                                          </p:val>
                                        </p:tav>
                                        <p:tav tm="100000">
                                          <p:val>
                                            <p:strVal val="#ppt_w"/>
                                          </p:val>
                                        </p:tav>
                                      </p:tavLst>
                                    </p:anim>
                                  </p:childTnLst>
                                </p:cTn>
                              </p:par>
                              <p:par>
                                <p:cTn id="32" presetID="10" presetClass="entr" presetSubtype="0" fill="hold" nodeType="withEffect">
                                  <p:stCondLst>
                                    <p:cond delay="250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800"/>
                                        <p:tgtEl>
                                          <p:spTgt spid="26"/>
                                        </p:tgtEl>
                                      </p:cBhvr>
                                    </p:animEffect>
                                  </p:childTnLst>
                                </p:cTn>
                              </p:par>
                              <p:par>
                                <p:cTn id="35" presetID="35" presetClass="entr" presetSubtype="0" fill="hold" nodeType="withEffect">
                                  <p:stCondLst>
                                    <p:cond delay="100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2000"/>
                                        <p:tgtEl>
                                          <p:spTgt spid="32"/>
                                        </p:tgtEl>
                                      </p:cBhvr>
                                    </p:animEffect>
                                    <p:anim calcmode="lin" valueType="num">
                                      <p:cBhvr>
                                        <p:cTn id="38" dur="2000" fill="hold"/>
                                        <p:tgtEl>
                                          <p:spTgt spid="32"/>
                                        </p:tgtEl>
                                        <p:attrNameLst>
                                          <p:attrName>style.rotation</p:attrName>
                                        </p:attrNameLst>
                                      </p:cBhvr>
                                      <p:tavLst>
                                        <p:tav tm="0">
                                          <p:val>
                                            <p:fltVal val="720"/>
                                          </p:val>
                                        </p:tav>
                                        <p:tav tm="100000">
                                          <p:val>
                                            <p:fltVal val="0"/>
                                          </p:val>
                                        </p:tav>
                                      </p:tavLst>
                                    </p:anim>
                                    <p:anim calcmode="lin" valueType="num">
                                      <p:cBhvr>
                                        <p:cTn id="39" dur="2000" fill="hold"/>
                                        <p:tgtEl>
                                          <p:spTgt spid="32"/>
                                        </p:tgtEl>
                                        <p:attrNameLst>
                                          <p:attrName>ppt_h</p:attrName>
                                        </p:attrNameLst>
                                      </p:cBhvr>
                                      <p:tavLst>
                                        <p:tav tm="0">
                                          <p:val>
                                            <p:fltVal val="0"/>
                                          </p:val>
                                        </p:tav>
                                        <p:tav tm="100000">
                                          <p:val>
                                            <p:strVal val="#ppt_h"/>
                                          </p:val>
                                        </p:tav>
                                      </p:tavLst>
                                    </p:anim>
                                    <p:anim calcmode="lin" valueType="num">
                                      <p:cBhvr>
                                        <p:cTn id="40" dur="2000" fill="hold"/>
                                        <p:tgtEl>
                                          <p:spTgt spid="32"/>
                                        </p:tgtEl>
                                        <p:attrNameLst>
                                          <p:attrName>ppt_w</p:attrName>
                                        </p:attrNameLst>
                                      </p:cBhvr>
                                      <p:tavLst>
                                        <p:tav tm="0">
                                          <p:val>
                                            <p:fltVal val="0"/>
                                          </p:val>
                                        </p:tav>
                                        <p:tav tm="100000">
                                          <p:val>
                                            <p:strVal val="#ppt_w"/>
                                          </p:val>
                                        </p:tav>
                                      </p:tavLst>
                                    </p:anim>
                                  </p:childTnLst>
                                </p:cTn>
                              </p:par>
                              <p:par>
                                <p:cTn id="41" presetID="22" presetClass="entr" presetSubtype="1" fill="hold" grpId="0" nodeType="withEffect">
                                  <p:stCondLst>
                                    <p:cond delay="2450"/>
                                  </p:stCondLst>
                                  <p:childTnLst>
                                    <p:set>
                                      <p:cBhvr>
                                        <p:cTn id="42" dur="1" fill="hold">
                                          <p:stCondLst>
                                            <p:cond delay="0"/>
                                          </p:stCondLst>
                                        </p:cTn>
                                        <p:tgtEl>
                                          <p:spTgt spid="21"/>
                                        </p:tgtEl>
                                        <p:attrNameLst>
                                          <p:attrName>style.visibility</p:attrName>
                                        </p:attrNameLst>
                                      </p:cBhvr>
                                      <p:to>
                                        <p:strVal val="visible"/>
                                      </p:to>
                                    </p:set>
                                    <p:animEffect transition="in" filter="wipe(up)">
                                      <p:cBhvr>
                                        <p:cTn id="43" dur="500"/>
                                        <p:tgtEl>
                                          <p:spTgt spid="21"/>
                                        </p:tgtEl>
                                      </p:cBhvr>
                                    </p:animEffect>
                                  </p:childTnLst>
                                </p:cTn>
                              </p:par>
                              <p:par>
                                <p:cTn id="44" presetID="10" presetClass="entr" presetSubtype="0" fill="hold" grpId="0" nodeType="withEffect">
                                  <p:stCondLst>
                                    <p:cond delay="285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par>
                                <p:cTn id="47" presetID="19" presetClass="entr" presetSubtype="10" fill="hold" grpId="1" nodeType="withEffect">
                                  <p:stCondLst>
                                    <p:cond delay="2850"/>
                                  </p:stCondLst>
                                  <p:childTnLst>
                                    <p:set>
                                      <p:cBhvr>
                                        <p:cTn id="48" dur="1" fill="hold">
                                          <p:stCondLst>
                                            <p:cond delay="0"/>
                                          </p:stCondLst>
                                        </p:cTn>
                                        <p:tgtEl>
                                          <p:spTgt spid="22"/>
                                        </p:tgtEl>
                                        <p:attrNameLst>
                                          <p:attrName>style.visibility</p:attrName>
                                        </p:attrNameLst>
                                      </p:cBhvr>
                                      <p:to>
                                        <p:strVal val="visible"/>
                                      </p:to>
                                    </p:set>
                                    <p:anim calcmode="lin" valueType="num">
                                      <p:cBhvr>
                                        <p:cTn id="49" dur="500" fill="hold"/>
                                        <p:tgtEl>
                                          <p:spTgt spid="22"/>
                                        </p:tgtEl>
                                        <p:attrNameLst>
                                          <p:attrName>ppt_w</p:attrName>
                                        </p:attrNameLst>
                                      </p:cBhvr>
                                      <p:tavLst>
                                        <p:tav tm="0" fmla="#ppt_w*sin(2.5*pi*$)">
                                          <p:val>
                                            <p:fltVal val="0"/>
                                          </p:val>
                                        </p:tav>
                                        <p:tav tm="100000">
                                          <p:val>
                                            <p:fltVal val="1"/>
                                          </p:val>
                                        </p:tav>
                                      </p:tavLst>
                                    </p:anim>
                                    <p:anim calcmode="lin" valueType="num">
                                      <p:cBhvr>
                                        <p:cTn id="50" dur="500" fill="hold"/>
                                        <p:tgtEl>
                                          <p:spTgt spid="22"/>
                                        </p:tgtEl>
                                        <p:attrNameLst>
                                          <p:attrName>ppt_h</p:attrName>
                                        </p:attrNameLst>
                                      </p:cBhvr>
                                      <p:tavLst>
                                        <p:tav tm="0">
                                          <p:val>
                                            <p:strVal val="#ppt_h"/>
                                          </p:val>
                                        </p:tav>
                                        <p:tav tm="100000">
                                          <p:val>
                                            <p:strVal val="#ppt_h"/>
                                          </p:val>
                                        </p:tav>
                                      </p:tavLst>
                                    </p:anim>
                                  </p:childTnLst>
                                </p:cTn>
                              </p:par>
                              <p:par>
                                <p:cTn id="51" presetID="31" presetClass="entr" presetSubtype="0" fill="hold" nodeType="withEffect">
                                  <p:stCondLst>
                                    <p:cond delay="2350"/>
                                  </p:stCondLst>
                                  <p:childTnLst>
                                    <p:set>
                                      <p:cBhvr>
                                        <p:cTn id="52" dur="1" fill="hold">
                                          <p:stCondLst>
                                            <p:cond delay="0"/>
                                          </p:stCondLst>
                                        </p:cTn>
                                        <p:tgtEl>
                                          <p:spTgt spid="29"/>
                                        </p:tgtEl>
                                        <p:attrNameLst>
                                          <p:attrName>style.visibility</p:attrName>
                                        </p:attrNameLst>
                                      </p:cBhvr>
                                      <p:to>
                                        <p:strVal val="visible"/>
                                      </p:to>
                                    </p:set>
                                    <p:anim calcmode="lin" valueType="num">
                                      <p:cBhvr>
                                        <p:cTn id="53" dur="1000" fill="hold"/>
                                        <p:tgtEl>
                                          <p:spTgt spid="29"/>
                                        </p:tgtEl>
                                        <p:attrNameLst>
                                          <p:attrName>ppt_w</p:attrName>
                                        </p:attrNameLst>
                                      </p:cBhvr>
                                      <p:tavLst>
                                        <p:tav tm="0">
                                          <p:val>
                                            <p:fltVal val="0"/>
                                          </p:val>
                                        </p:tav>
                                        <p:tav tm="100000">
                                          <p:val>
                                            <p:strVal val="#ppt_w"/>
                                          </p:val>
                                        </p:tav>
                                      </p:tavLst>
                                    </p:anim>
                                    <p:anim calcmode="lin" valueType="num">
                                      <p:cBhvr>
                                        <p:cTn id="54" dur="1000" fill="hold"/>
                                        <p:tgtEl>
                                          <p:spTgt spid="29"/>
                                        </p:tgtEl>
                                        <p:attrNameLst>
                                          <p:attrName>ppt_h</p:attrName>
                                        </p:attrNameLst>
                                      </p:cBhvr>
                                      <p:tavLst>
                                        <p:tav tm="0">
                                          <p:val>
                                            <p:fltVal val="0"/>
                                          </p:val>
                                        </p:tav>
                                        <p:tav tm="100000">
                                          <p:val>
                                            <p:strVal val="#ppt_h"/>
                                          </p:val>
                                        </p:tav>
                                      </p:tavLst>
                                    </p:anim>
                                    <p:anim calcmode="lin" valueType="num">
                                      <p:cBhvr>
                                        <p:cTn id="55" dur="1000" fill="hold"/>
                                        <p:tgtEl>
                                          <p:spTgt spid="29"/>
                                        </p:tgtEl>
                                        <p:attrNameLst>
                                          <p:attrName>style.rotation</p:attrName>
                                        </p:attrNameLst>
                                      </p:cBhvr>
                                      <p:tavLst>
                                        <p:tav tm="0">
                                          <p:val>
                                            <p:fltVal val="90"/>
                                          </p:val>
                                        </p:tav>
                                        <p:tav tm="100000">
                                          <p:val>
                                            <p:fltVal val="0"/>
                                          </p:val>
                                        </p:tav>
                                      </p:tavLst>
                                    </p:anim>
                                    <p:animEffect transition="in" filter="fade">
                                      <p:cBhvr>
                                        <p:cTn id="56" dur="1000"/>
                                        <p:tgtEl>
                                          <p:spTgt spid="29"/>
                                        </p:tgtEl>
                                      </p:cBhvr>
                                    </p:animEffect>
                                  </p:childTnLst>
                                </p:cTn>
                              </p:par>
                              <p:par>
                                <p:cTn id="57" presetID="31" presetClass="entr" presetSubtype="0" fill="hold" nodeType="withEffect">
                                  <p:stCondLst>
                                    <p:cond delay="2350"/>
                                  </p:stCondLst>
                                  <p:childTnLst>
                                    <p:set>
                                      <p:cBhvr>
                                        <p:cTn id="58" dur="1" fill="hold">
                                          <p:stCondLst>
                                            <p:cond delay="0"/>
                                          </p:stCondLst>
                                        </p:cTn>
                                        <p:tgtEl>
                                          <p:spTgt spid="23"/>
                                        </p:tgtEl>
                                        <p:attrNameLst>
                                          <p:attrName>style.visibility</p:attrName>
                                        </p:attrNameLst>
                                      </p:cBhvr>
                                      <p:to>
                                        <p:strVal val="visible"/>
                                      </p:to>
                                    </p:set>
                                    <p:anim calcmode="lin" valueType="num">
                                      <p:cBhvr>
                                        <p:cTn id="59" dur="1000" fill="hold"/>
                                        <p:tgtEl>
                                          <p:spTgt spid="23"/>
                                        </p:tgtEl>
                                        <p:attrNameLst>
                                          <p:attrName>ppt_w</p:attrName>
                                        </p:attrNameLst>
                                      </p:cBhvr>
                                      <p:tavLst>
                                        <p:tav tm="0">
                                          <p:val>
                                            <p:fltVal val="0"/>
                                          </p:val>
                                        </p:tav>
                                        <p:tav tm="100000">
                                          <p:val>
                                            <p:strVal val="#ppt_w"/>
                                          </p:val>
                                        </p:tav>
                                      </p:tavLst>
                                    </p:anim>
                                    <p:anim calcmode="lin" valueType="num">
                                      <p:cBhvr>
                                        <p:cTn id="60" dur="1000" fill="hold"/>
                                        <p:tgtEl>
                                          <p:spTgt spid="23"/>
                                        </p:tgtEl>
                                        <p:attrNameLst>
                                          <p:attrName>ppt_h</p:attrName>
                                        </p:attrNameLst>
                                      </p:cBhvr>
                                      <p:tavLst>
                                        <p:tav tm="0">
                                          <p:val>
                                            <p:fltVal val="0"/>
                                          </p:val>
                                        </p:tav>
                                        <p:tav tm="100000">
                                          <p:val>
                                            <p:strVal val="#ppt_h"/>
                                          </p:val>
                                        </p:tav>
                                      </p:tavLst>
                                    </p:anim>
                                    <p:anim calcmode="lin" valueType="num">
                                      <p:cBhvr>
                                        <p:cTn id="61" dur="1000" fill="hold"/>
                                        <p:tgtEl>
                                          <p:spTgt spid="23"/>
                                        </p:tgtEl>
                                        <p:attrNameLst>
                                          <p:attrName>style.rotation</p:attrName>
                                        </p:attrNameLst>
                                      </p:cBhvr>
                                      <p:tavLst>
                                        <p:tav tm="0">
                                          <p:val>
                                            <p:fltVal val="90"/>
                                          </p:val>
                                        </p:tav>
                                        <p:tav tm="100000">
                                          <p:val>
                                            <p:fltVal val="0"/>
                                          </p:val>
                                        </p:tav>
                                      </p:tavLst>
                                    </p:anim>
                                    <p:animEffect transition="in" filter="fade">
                                      <p:cBhvr>
                                        <p:cTn id="62" dur="1000"/>
                                        <p:tgtEl>
                                          <p:spTgt spid="23"/>
                                        </p:tgtEl>
                                      </p:cBhvr>
                                    </p:animEffect>
                                  </p:childTnLst>
                                </p:cTn>
                              </p:par>
                              <p:par>
                                <p:cTn id="63" presetID="35" presetClass="path" presetSubtype="0" accel="46667" decel="53333" autoRev="1" fill="hold" grpId="0" nodeType="withEffect">
                                  <p:stCondLst>
                                    <p:cond delay="2600"/>
                                  </p:stCondLst>
                                  <p:childTnLst>
                                    <p:animMotion origin="layout" path="M 2.94087E-6 4.07407E-6 L -0.13051 4.07407E-6 " pathEditMode="relative" rAng="0" ptsTypes="AA">
                                      <p:cBhvr>
                                        <p:cTn id="64" dur="150" fill="hold"/>
                                        <p:tgtEl>
                                          <p:spTgt spid="56"/>
                                        </p:tgtEl>
                                        <p:attrNameLst>
                                          <p:attrName>ppt_x</p:attrName>
                                          <p:attrName>ppt_y</p:attrName>
                                        </p:attrNameLst>
                                      </p:cBhvr>
                                      <p:rCtr x="-6525" y="0"/>
                                    </p:animMotion>
                                  </p:childTnLst>
                                </p:cTn>
                              </p:par>
                              <p:par>
                                <p:cTn id="65" presetID="10" presetClass="entr" presetSubtype="0" fill="hold" nodeType="withEffect">
                                  <p:stCondLst>
                                    <p:cond delay="450"/>
                                  </p:stCondLst>
                                  <p:childTnLst>
                                    <p:set>
                                      <p:cBhvr>
                                        <p:cTn id="66" dur="1" fill="hold">
                                          <p:stCondLst>
                                            <p:cond delay="0"/>
                                          </p:stCondLst>
                                        </p:cTn>
                                        <p:tgtEl>
                                          <p:spTgt spid="74"/>
                                        </p:tgtEl>
                                        <p:attrNameLst>
                                          <p:attrName>style.visibility</p:attrName>
                                        </p:attrNameLst>
                                      </p:cBhvr>
                                      <p:to>
                                        <p:strVal val="visible"/>
                                      </p:to>
                                    </p:set>
                                    <p:animEffect transition="in" filter="fade">
                                      <p:cBhvr>
                                        <p:cTn id="67" dur="500"/>
                                        <p:tgtEl>
                                          <p:spTgt spid="74"/>
                                        </p:tgtEl>
                                      </p:cBhvr>
                                    </p:animEffect>
                                  </p:childTnLst>
                                </p:cTn>
                              </p:par>
                              <p:par>
                                <p:cTn id="68" presetID="42" presetClass="path" presetSubtype="0" accel="5000" decel="28000" fill="hold" nodeType="withEffect">
                                  <p:stCondLst>
                                    <p:cond delay="450"/>
                                  </p:stCondLst>
                                  <p:childTnLst>
                                    <p:animMotion origin="layout" path="M -1.04167E-6 -9.24855E-7 L -0.17031 0.55445 " pathEditMode="relative" rAng="0" ptsTypes="AA">
                                      <p:cBhvr>
                                        <p:cTn id="69" dur="1000" spd="-100000" fill="hold"/>
                                        <p:tgtEl>
                                          <p:spTgt spid="74"/>
                                        </p:tgtEl>
                                        <p:attrNameLst>
                                          <p:attrName>ppt_x</p:attrName>
                                          <p:attrName>ppt_y</p:attrName>
                                        </p:attrNameLst>
                                      </p:cBhvr>
                                      <p:rCtr x="-8516" y="27723"/>
                                    </p:animMotion>
                                  </p:childTnLst>
                                </p:cTn>
                              </p:par>
                              <p:par>
                                <p:cTn id="70" presetID="6" presetClass="emph" presetSubtype="0" accel="50000" fill="hold" nodeType="withEffect">
                                  <p:stCondLst>
                                    <p:cond delay="450"/>
                                  </p:stCondLst>
                                  <p:childTnLst>
                                    <p:animScale>
                                      <p:cBhvr>
                                        <p:cTn id="71" dur="1000" fill="hold"/>
                                        <p:tgtEl>
                                          <p:spTgt spid="74"/>
                                        </p:tgtEl>
                                      </p:cBhvr>
                                      <p:by x="85000" y="85000"/>
                                    </p:animScale>
                                  </p:childTnLst>
                                </p:cTn>
                              </p:par>
                              <p:par>
                                <p:cTn id="72" presetID="22" presetClass="entr" presetSubtype="4" fill="hold" nodeType="withEffect">
                                  <p:stCondLst>
                                    <p:cond delay="450"/>
                                  </p:stCondLst>
                                  <p:childTnLst>
                                    <p:set>
                                      <p:cBhvr>
                                        <p:cTn id="73" dur="1" fill="hold">
                                          <p:stCondLst>
                                            <p:cond delay="0"/>
                                          </p:stCondLst>
                                        </p:cTn>
                                        <p:tgtEl>
                                          <p:spTgt spid="79"/>
                                        </p:tgtEl>
                                        <p:attrNameLst>
                                          <p:attrName>style.visibility</p:attrName>
                                        </p:attrNameLst>
                                      </p:cBhvr>
                                      <p:to>
                                        <p:strVal val="visible"/>
                                      </p:to>
                                    </p:set>
                                    <p:animEffect transition="in" filter="wipe(down)">
                                      <p:cBhvr>
                                        <p:cTn id="74" dur="1000"/>
                                        <p:tgtEl>
                                          <p:spTgt spid="79"/>
                                        </p:tgtEl>
                                      </p:cBhvr>
                                    </p:animEffect>
                                  </p:childTnLst>
                                </p:cTn>
                              </p:par>
                              <p:par>
                                <p:cTn id="75" presetID="22" presetClass="entr" presetSubtype="8" fill="hold" nodeType="withEffect">
                                  <p:stCondLst>
                                    <p:cond delay="0"/>
                                  </p:stCondLst>
                                  <p:childTnLst>
                                    <p:set>
                                      <p:cBhvr>
                                        <p:cTn id="76" dur="1" fill="hold">
                                          <p:stCondLst>
                                            <p:cond delay="0"/>
                                          </p:stCondLst>
                                        </p:cTn>
                                        <p:tgtEl>
                                          <p:spTgt spid="81"/>
                                        </p:tgtEl>
                                        <p:attrNameLst>
                                          <p:attrName>style.visibility</p:attrName>
                                        </p:attrNameLst>
                                      </p:cBhvr>
                                      <p:to>
                                        <p:strVal val="visible"/>
                                      </p:to>
                                    </p:set>
                                    <p:animEffect transition="in" filter="wipe(left)">
                                      <p:cBhvr>
                                        <p:cTn id="77" dur="500"/>
                                        <p:tgtEl>
                                          <p:spTgt spid="8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4">
                                            <p:txEl>
                                              <p:pRg st="0" end="0"/>
                                            </p:txEl>
                                          </p:spTgt>
                                        </p:tgtEl>
                                        <p:attrNameLst>
                                          <p:attrName>style.visibility</p:attrName>
                                        </p:attrNameLst>
                                      </p:cBhvr>
                                      <p:to>
                                        <p:strVal val="visible"/>
                                      </p:to>
                                    </p:set>
                                    <p:animEffect transition="in" filter="fade">
                                      <p:cBhvr>
                                        <p:cTn id="80" dur="500"/>
                                        <p:tgtEl>
                                          <p:spTgt spid="84">
                                            <p:txEl>
                                              <p:pRg st="0" end="0"/>
                                            </p:txEl>
                                          </p:spTgt>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0"/>
                                        </p:tgtEl>
                                        <p:attrNameLst>
                                          <p:attrName>style.visibility</p:attrName>
                                        </p:attrNameLst>
                                      </p:cBhvr>
                                      <p:to>
                                        <p:strVal val="visible"/>
                                      </p:to>
                                    </p:set>
                                    <p:animEffect transition="in" filter="fade">
                                      <p:cBhvr>
                                        <p:cTn id="83"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2" grpId="1" animBg="1"/>
      <p:bldP spid="56" grpId="0" animBg="1"/>
      <p:bldP spid="80" grpId="0"/>
      <p:bldP spid="84" grpId="0" build="p">
        <p:tmplLst>
          <p:tmpl lvl="1">
            <p:tnLst>
              <p:par>
                <p:cTn presetID="10" presetClass="entr" presetSubtype="0" fill="hold" nodeType="withEffect">
                  <p:stCondLst>
                    <p:cond delay="0"/>
                  </p:stCondLst>
                  <p:childTnLst>
                    <p:set>
                      <p:cBhvr>
                        <p:cTn dur="1" fill="hold">
                          <p:stCondLst>
                            <p:cond delay="0"/>
                          </p:stCondLst>
                        </p:cTn>
                        <p:tgtEl>
                          <p:spTgt spid="84"/>
                        </p:tgtEl>
                        <p:attrNameLst>
                          <p:attrName>style.visibility</p:attrName>
                        </p:attrNameLst>
                      </p:cBhvr>
                      <p:to>
                        <p:strVal val="visible"/>
                      </p:to>
                    </p:set>
                    <p:animEffect transition="in" filter="fade">
                      <p:cBhvr>
                        <p:cTn dur="500"/>
                        <p:tgtEl>
                          <p:spTgt spid="84"/>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29852"/>
            <a:ext cx="11432977" cy="52136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7955720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cxnSp>
        <p:nvCxnSpPr>
          <p:cNvPr id="13" name="Straight Connector 12"/>
          <p:cNvCxnSpPr/>
          <p:nvPr userDrawn="1"/>
        </p:nvCxnSpPr>
        <p:spPr>
          <a:xfrm>
            <a:off x="370366"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5" name="Title Placeholder 1"/>
          <p:cNvSpPr>
            <a:spLocks noGrp="1"/>
          </p:cNvSpPr>
          <p:nvPr>
            <p:ph type="title"/>
          </p:nvPr>
        </p:nvSpPr>
        <p:spPr>
          <a:xfrm>
            <a:off x="283541" y="721208"/>
            <a:ext cx="11432977" cy="523413"/>
          </a:xfrm>
          <a:prstGeom prst="rect">
            <a:avLst/>
          </a:prstGeom>
        </p:spPr>
        <p:txBody>
          <a:bodyPr vert="horz" wrap="square" lIns="68580" tIns="34290" rIns="68580" bIns="34290" rtlCol="0" anchor="ctr">
            <a:spAutoFit/>
          </a:bodyPr>
          <a:lstStyle>
            <a:lvl1pPr>
              <a:defRPr sz="3599"/>
            </a:lvl1pPr>
          </a:lstStyle>
          <a:p>
            <a:r>
              <a:rPr lang="en-US"/>
              <a:t>Click to edit Master title style</a:t>
            </a:r>
          </a:p>
        </p:txBody>
      </p:sp>
    </p:spTree>
    <p:extLst>
      <p:ext uri="{BB962C8B-B14F-4D97-AF65-F5344CB8AC3E}">
        <p14:creationId xmlns:p14="http://schemas.microsoft.com/office/powerpoint/2010/main" val="9434138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6096" y="621142"/>
            <a:ext cx="11430000" cy="701731"/>
          </a:xfrm>
          <a:prstGeom prst="rect">
            <a:avLst/>
          </a:prstGeom>
        </p:spPr>
        <p:txBody>
          <a:bodyPr vert="horz" lIns="91440" tIns="45720" rIns="91440" bIns="45720" rtlCol="0" anchor="ctr">
            <a:spAutoFit/>
          </a:bodyPr>
          <a:lstStyle/>
          <a:p>
            <a:r>
              <a:rPr lang="en-US"/>
              <a:t>Click to edit Master title style</a:t>
            </a:r>
          </a:p>
        </p:txBody>
      </p:sp>
      <p:sp>
        <p:nvSpPr>
          <p:cNvPr id="9" name="Text Placeholder 2"/>
          <p:cNvSpPr>
            <a:spLocks noGrp="1"/>
          </p:cNvSpPr>
          <p:nvPr>
            <p:ph idx="1"/>
          </p:nvPr>
        </p:nvSpPr>
        <p:spPr>
          <a:xfrm>
            <a:off x="366096" y="1967883"/>
            <a:ext cx="11430000" cy="1531188"/>
          </a:xfrm>
          <a:prstGeom prst="rect">
            <a:avLst/>
          </a:prstGeom>
        </p:spPr>
        <p:txBody>
          <a:bodyPr vert="horz" lIns="91440" tIns="45720" rIns="91440" bIns="45720" rtlCol="0">
            <a:spAutoFit/>
          </a:bodyPr>
          <a:lstStyle>
            <a:lvl1pPr marL="347264">
              <a:defRPr/>
            </a:lvl1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370268" y="504825"/>
            <a:ext cx="11448288"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3"/>
          </p:nvPr>
        </p:nvSpPr>
        <p:spPr>
          <a:xfrm>
            <a:off x="366096" y="1180862"/>
            <a:ext cx="11430000" cy="443198"/>
          </a:xfrm>
        </p:spPr>
        <p:txBody>
          <a:bodyPr anchor="ctr"/>
          <a:lstStyle>
            <a:lvl1pPr marL="0" indent="0">
              <a:buFontTx/>
              <a:buNone/>
              <a:defRPr>
                <a:solidFill>
                  <a:schemeClr val="bg2"/>
                </a:solidFill>
              </a:defRPr>
            </a:lvl1pPr>
            <a:lvl2pPr marL="456926" indent="0">
              <a:buFontTx/>
              <a:buNone/>
              <a:defRPr>
                <a:solidFill>
                  <a:schemeClr val="bg2"/>
                </a:solidFill>
              </a:defRPr>
            </a:lvl2pPr>
            <a:lvl3pPr marL="913852" indent="0">
              <a:buFontTx/>
              <a:buNone/>
              <a:defRPr>
                <a:solidFill>
                  <a:schemeClr val="bg2"/>
                </a:solidFill>
              </a:defRPr>
            </a:lvl3pPr>
            <a:lvl4pPr marL="1370778" indent="0">
              <a:buFontTx/>
              <a:buNone/>
              <a:defRPr>
                <a:solidFill>
                  <a:schemeClr val="bg2"/>
                </a:solidFill>
              </a:defRPr>
            </a:lvl4pPr>
            <a:lvl5pPr marL="1827703" indent="0">
              <a:buFontTx/>
              <a:buNone/>
              <a:defRPr>
                <a:solidFill>
                  <a:schemeClr val="bg2"/>
                </a:solidFill>
              </a:defRPr>
            </a:lvl5pPr>
          </a:lstStyle>
          <a:p>
            <a:pPr lvl="0"/>
            <a:r>
              <a:rPr lang="en-US"/>
              <a:t>Click to edit Master text styles</a:t>
            </a:r>
          </a:p>
        </p:txBody>
      </p:sp>
    </p:spTree>
    <p:extLst>
      <p:ext uri="{BB962C8B-B14F-4D97-AF65-F5344CB8AC3E}">
        <p14:creationId xmlns:p14="http://schemas.microsoft.com/office/powerpoint/2010/main" val="198806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25" name="TextBox 24">
            <a:extLst>
              <a:ext uri="{FF2B5EF4-FFF2-40B4-BE49-F238E27FC236}">
                <a16:creationId xmlns:a16="http://schemas.microsoft.com/office/drawing/2014/main" id="{F63CEA34-B88E-4244-AC83-3D14341443D9}"/>
              </a:ext>
            </a:extLst>
          </p:cNvPr>
          <p:cNvSpPr txBox="1"/>
          <p:nvPr userDrawn="1"/>
        </p:nvSpPr>
        <p:spPr>
          <a:xfrm>
            <a:off x="3644529" y="6579360"/>
            <a:ext cx="3924185" cy="216982"/>
          </a:xfrm>
          <a:prstGeom prst="rect">
            <a:avLst/>
          </a:prstGeom>
          <a:noFill/>
        </p:spPr>
        <p:txBody>
          <a:bodyPr wrap="square" rtlCol="0">
            <a:spAutoFit/>
          </a:bodyPr>
          <a:lstStyle/>
          <a:p>
            <a:pPr algn="ctr" defTabSz="685800">
              <a:lnSpc>
                <a:spcPct val="90000"/>
              </a:lnSpc>
              <a:spcAft>
                <a:spcPts val="300"/>
              </a:spcAft>
              <a:defRPr/>
            </a:pPr>
            <a:r>
              <a:rPr lang="en-US" sz="900">
                <a:solidFill>
                  <a:schemeClr val="tx1">
                    <a:lumMod val="50000"/>
                    <a:lumOff val="50000"/>
                  </a:schemeClr>
                </a:solidFill>
                <a:latin typeface="Calibri" panose="020F0502020204030204" pitchFamily="34" charset="0"/>
                <a:cs typeface="Calibri" panose="020F0502020204030204" pitchFamily="34" charset="0"/>
              </a:rPr>
              <a:t>Confidential and Proprietary – Qualcomm Technologies, Inc.</a:t>
            </a:r>
          </a:p>
        </p:txBody>
      </p:sp>
    </p:spTree>
    <p:extLst>
      <p:ext uri="{BB962C8B-B14F-4D97-AF65-F5344CB8AC3E}">
        <p14:creationId xmlns:p14="http://schemas.microsoft.com/office/powerpoint/2010/main" val="255799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algn="ct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Source Placeholder 3">
            <a:extLst>
              <a:ext uri="{FF2B5EF4-FFF2-40B4-BE49-F238E27FC236}">
                <a16:creationId xmlns:a16="http://schemas.microsoft.com/office/drawing/2014/main" id="{2E62B2B5-2C44-4E16-87B0-C8B0B8A7D6F9}"/>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ource Placeholder 3">
            <a:extLst>
              <a:ext uri="{FF2B5EF4-FFF2-40B4-BE49-F238E27FC236}">
                <a16:creationId xmlns:a16="http://schemas.microsoft.com/office/drawing/2014/main" id="{3A534A9F-ECC7-400E-B31F-8482749EC652}"/>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40D35F6E-3204-4FFD-B5ED-941E86000507}"/>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ource Placeholder 3">
            <a:extLst>
              <a:ext uri="{FF2B5EF4-FFF2-40B4-BE49-F238E27FC236}">
                <a16:creationId xmlns:a16="http://schemas.microsoft.com/office/drawing/2014/main" id="{407643A8-B24A-47C1-ABE4-4F8ABBA6FE9B}"/>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7F58D763-6CFD-4B02-AA54-8FFB63F52CF8}"/>
              </a:ext>
            </a:extLst>
          </p:cNvPr>
          <p:cNvSpPr>
            <a:spLocks noGrp="1"/>
          </p:cNvSpPr>
          <p:nvPr>
            <p:ph type="body" sz="quarter" idx="10" hasCustomPrompt="1"/>
          </p:nvPr>
        </p:nvSpPr>
        <p:spPr>
          <a:xfrm>
            <a:off x="494189" y="6484545"/>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D929F898-A466-4045-8A64-1BBDCCB15AC1}"/>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F3938959-042B-4DC5-84EC-72C329CEF2FB}"/>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BFB6C491-3F66-46EE-8B85-2D6203C48B30}"/>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algn="ctr">
              <a:defRPr/>
            </a:pPr>
            <a:endParaRPr lang="en-US" kern="0">
              <a:solidFill>
                <a:prstClr val="white"/>
              </a:solidFill>
              <a:latin typeface="Century Gothic"/>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ource Placeholder 3">
            <a:extLst>
              <a:ext uri="{FF2B5EF4-FFF2-40B4-BE49-F238E27FC236}">
                <a16:creationId xmlns:a16="http://schemas.microsoft.com/office/drawing/2014/main" id="{6AF10D13-F8DB-413B-A533-8458374305C9}"/>
              </a:ext>
            </a:extLst>
          </p:cNvPr>
          <p:cNvSpPr>
            <a:spLocks noGrp="1"/>
          </p:cNvSpPr>
          <p:nvPr>
            <p:ph type="body" sz="quarter" idx="10" hasCustomPrompt="1"/>
          </p:nvPr>
        </p:nvSpPr>
        <p:spPr>
          <a:xfrm>
            <a:off x="494189" y="5052451"/>
            <a:ext cx="1022350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A7B100CC-8F88-4029-AD1D-D7AAE0BEEC08}"/>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49F2E65F-9F1B-43BC-AE20-60EA2063E781}"/>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Source Placeholder 3">
            <a:extLst>
              <a:ext uri="{FF2B5EF4-FFF2-40B4-BE49-F238E27FC236}">
                <a16:creationId xmlns:a16="http://schemas.microsoft.com/office/drawing/2014/main" id="{462AC461-9885-4DEB-A5B6-CC240C472C64}"/>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D69D3954-A6BC-4C31-899A-87BD702FF885}"/>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a:t>
            </a:r>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ource Placeholder 3">
            <a:extLst>
              <a:ext uri="{FF2B5EF4-FFF2-40B4-BE49-F238E27FC236}">
                <a16:creationId xmlns:a16="http://schemas.microsoft.com/office/drawing/2014/main" id="{A55F2F32-3DCC-41F2-87F2-64520C080A4B}"/>
              </a:ext>
            </a:extLst>
          </p:cNvPr>
          <p:cNvSpPr>
            <a:spLocks noGrp="1"/>
          </p:cNvSpPr>
          <p:nvPr>
            <p:ph type="body" sz="quarter" idx="16" hasCustomPrompt="1"/>
          </p:nvPr>
        </p:nvSpPr>
        <p:spPr>
          <a:xfrm>
            <a:off x="494189" y="6484545"/>
            <a:ext cx="512064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85104F0A-FE74-443F-8EAD-157F4CEFA843}"/>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B57DB301-0F4A-4872-B4A4-7BFC89CBC839}"/>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0CB79959-E1A9-418E-9FA6-67216C3B667F}"/>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ource Placeholder 3">
            <a:extLst>
              <a:ext uri="{FF2B5EF4-FFF2-40B4-BE49-F238E27FC236}">
                <a16:creationId xmlns:a16="http://schemas.microsoft.com/office/drawing/2014/main" id="{5F722D57-698D-41D0-A0C9-6284498B608A}"/>
              </a:ext>
            </a:extLst>
          </p:cNvPr>
          <p:cNvSpPr>
            <a:spLocks noGrp="1"/>
          </p:cNvSpPr>
          <p:nvPr>
            <p:ph type="body" sz="quarter" idx="16" hasCustomPrompt="1"/>
          </p:nvPr>
        </p:nvSpPr>
        <p:spPr>
          <a:xfrm>
            <a:off x="494189" y="6484545"/>
            <a:ext cx="6446520"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690EBD92-166D-43F6-9FB1-B7EA2C713571}"/>
              </a:ext>
            </a:extLst>
          </p:cNvPr>
          <p:cNvSpPr>
            <a:spLocks noGrp="1"/>
          </p:cNvSpPr>
          <p:nvPr>
            <p:ph type="body" sz="quarter" idx="16" hasCustomPrompt="1"/>
          </p:nvPr>
        </p:nvSpPr>
        <p:spPr bwMode="white">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68FA3629-8CD3-4FB4-8473-EB1B0750C743}"/>
              </a:ext>
            </a:extLst>
          </p:cNvPr>
          <p:cNvSpPr>
            <a:spLocks noGrp="1"/>
          </p:cNvSpPr>
          <p:nvPr>
            <p:ph type="body" sz="quarter" idx="16" hasCustomPrompt="1"/>
          </p:nvPr>
        </p:nvSpPr>
        <p:spPr>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1388EE7B-1BDF-4D7A-9EB0-37C7C5CBCFE0}"/>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7B6D810A-7911-4582-ABB8-2ED8A12FB604}"/>
              </a:ext>
            </a:extLst>
          </p:cNvPr>
          <p:cNvSpPr>
            <a:spLocks noGrp="1"/>
          </p:cNvSpPr>
          <p:nvPr>
            <p:ph type="body" sz="quarter" idx="16" hasCustomPrompt="1"/>
          </p:nvPr>
        </p:nvSpPr>
        <p:spPr>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endParaRPr lang="en-US"/>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
        <p:nvSpPr>
          <p:cNvPr id="10" name="Source Placeholder 3">
            <a:extLst>
              <a:ext uri="{FF2B5EF4-FFF2-40B4-BE49-F238E27FC236}">
                <a16:creationId xmlns:a16="http://schemas.microsoft.com/office/drawing/2014/main" id="{939225BF-EFB3-445E-B5EA-2F702F8644DA}"/>
              </a:ext>
            </a:extLst>
          </p:cNvPr>
          <p:cNvSpPr>
            <a:spLocks noGrp="1"/>
          </p:cNvSpPr>
          <p:nvPr>
            <p:ph type="body" sz="quarter" idx="16" hasCustomPrompt="1"/>
          </p:nvPr>
        </p:nvSpPr>
        <p:spPr bwMode="white">
          <a:xfrm>
            <a:off x="8103394"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E14BF209-9FE5-4958-97C4-BD97E88C6AAC}"/>
              </a:ext>
            </a:extLst>
          </p:cNvPr>
          <p:cNvSpPr>
            <a:spLocks noGrp="1"/>
          </p:cNvSpPr>
          <p:nvPr>
            <p:ph type="body" sz="quarter" idx="16" hasCustomPrompt="1"/>
          </p:nvPr>
        </p:nvSpPr>
        <p:spPr bwMode="white">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F2079E15-2211-49FA-A07E-CA57FF3B587A}"/>
              </a:ext>
            </a:extLst>
          </p:cNvPr>
          <p:cNvSpPr>
            <a:spLocks noGrp="1"/>
          </p:cNvSpPr>
          <p:nvPr>
            <p:ph type="body" sz="quarter" idx="16" hasCustomPrompt="1"/>
          </p:nvPr>
        </p:nvSpPr>
        <p:spPr bwMode="black">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A052BBA2-FDCC-4E34-8F12-BA80DC21A373}"/>
              </a:ext>
            </a:extLst>
          </p:cNvPr>
          <p:cNvSpPr>
            <a:spLocks noGrp="1"/>
          </p:cNvSpPr>
          <p:nvPr>
            <p:ph type="body" sz="quarter" idx="16" hasCustomPrompt="1"/>
          </p:nvPr>
        </p:nvSpPr>
        <p:spPr bwMode="black">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endParaRPr lang="en-US"/>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endParaRPr lang="en-US"/>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p>
        </p:txBody>
      </p:sp>
      <p:sp>
        <p:nvSpPr>
          <p:cNvPr id="8" name="Source Placeholder 3">
            <a:extLst>
              <a:ext uri="{FF2B5EF4-FFF2-40B4-BE49-F238E27FC236}">
                <a16:creationId xmlns:a16="http://schemas.microsoft.com/office/drawing/2014/main" id="{DD7B47EF-E750-413F-BD32-2318DD5977BB}"/>
              </a:ext>
            </a:extLst>
          </p:cNvPr>
          <p:cNvSpPr>
            <a:spLocks noGrp="1"/>
          </p:cNvSpPr>
          <p:nvPr>
            <p:ph type="body" sz="quarter" idx="16" hasCustomPrompt="1"/>
          </p:nvPr>
        </p:nvSpPr>
        <p:spPr bwMode="white">
          <a:xfrm>
            <a:off x="477078" y="6484545"/>
            <a:ext cx="356616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F5AA1D31-B637-4814-ADB8-FC51AACFB4BE}"/>
              </a:ext>
            </a:extLst>
          </p:cNvPr>
          <p:cNvSpPr>
            <a:spLocks noGrp="1"/>
          </p:cNvSpPr>
          <p:nvPr>
            <p:ph type="body" sz="quarter" idx="16" hasCustomPrompt="1"/>
          </p:nvPr>
        </p:nvSpPr>
        <p:spPr bwMode="white">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95A1A867-B30A-4DDE-80EE-F11687596800}"/>
              </a:ext>
            </a:extLst>
          </p:cNvPr>
          <p:cNvSpPr>
            <a:spLocks noGrp="1"/>
          </p:cNvSpPr>
          <p:nvPr>
            <p:ph type="body" sz="quarter" idx="16" hasCustomPrompt="1"/>
          </p:nvPr>
        </p:nvSpPr>
        <p:spPr bwMode="black">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40191523-DF94-426E-BB35-16EC73482EE0}"/>
              </a:ext>
            </a:extLst>
          </p:cNvPr>
          <p:cNvSpPr>
            <a:spLocks noGrp="1"/>
          </p:cNvSpPr>
          <p:nvPr>
            <p:ph type="body" sz="quarter" idx="16" hasCustomPrompt="1"/>
          </p:nvPr>
        </p:nvSpPr>
        <p:spPr bwMode="black">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ource Placeholder 3">
            <a:extLst>
              <a:ext uri="{FF2B5EF4-FFF2-40B4-BE49-F238E27FC236}">
                <a16:creationId xmlns:a16="http://schemas.microsoft.com/office/drawing/2014/main" id="{ED0F0D27-8EF9-45F0-9A19-5C44653D3D4A}"/>
              </a:ext>
            </a:extLst>
          </p:cNvPr>
          <p:cNvSpPr>
            <a:spLocks noGrp="1"/>
          </p:cNvSpPr>
          <p:nvPr>
            <p:ph type="body" sz="quarter" idx="16" hasCustomPrompt="1"/>
          </p:nvPr>
        </p:nvSpPr>
        <p:spPr bwMode="white">
          <a:xfrm>
            <a:off x="477078" y="6484545"/>
            <a:ext cx="2606040" cy="189802"/>
          </a:xfrm>
        </p:spPr>
        <p:txBody>
          <a:bodyPr anchor="b"/>
          <a:lstStyle>
            <a:lvl1pPr marL="0" indent="0">
              <a:buNone/>
              <a:defRPr sz="800">
                <a:solidFill>
                  <a:schemeClr val="bg1"/>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ooter Placeholder 4">
            <a:extLst>
              <a:ext uri="{FF2B5EF4-FFF2-40B4-BE49-F238E27FC236}">
                <a16:creationId xmlns:a16="http://schemas.microsoft.com/office/drawing/2014/main" id="{9DEC851D-52A4-45B1-A1B3-95021CB3C76C}"/>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algn="ctr">
                <a:defRPr/>
              </a:pPr>
              <a:endParaRPr lang="en-US" kern="0">
                <a:solidFill>
                  <a:srgbClr val="FFFFFF"/>
                </a:solidFill>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b="1">
                <a:solidFill>
                  <a:prstClr val="white"/>
                </a:solidFill>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Source Placeholder 3">
            <a:extLst>
              <a:ext uri="{FF2B5EF4-FFF2-40B4-BE49-F238E27FC236}">
                <a16:creationId xmlns:a16="http://schemas.microsoft.com/office/drawing/2014/main" id="{32EF2D8D-CC3D-4D5B-9069-9055B4D9C837}"/>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a:solidFill>
                  <a:prstClr val="white"/>
                </a:solidFill>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Source Placeholder 3">
            <a:extLst>
              <a:ext uri="{FF2B5EF4-FFF2-40B4-BE49-F238E27FC236}">
                <a16:creationId xmlns:a16="http://schemas.microsoft.com/office/drawing/2014/main" id="{7C34561E-BAAB-4513-9DFA-94AADADE9DD9}"/>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kern="0">
                <a:solidFill>
                  <a:prstClr val="white"/>
                </a:solidFill>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algn="ctr">
                <a:defRPr/>
              </a:pPr>
              <a:endParaRPr lang="en-US" kern="0">
                <a:solidFill>
                  <a:srgbClr val="FFFFFF"/>
                </a:solidFill>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Source Placeholder 3">
            <a:extLst>
              <a:ext uri="{FF2B5EF4-FFF2-40B4-BE49-F238E27FC236}">
                <a16:creationId xmlns:a16="http://schemas.microsoft.com/office/drawing/2014/main" id="{51208489-B52D-43EB-82BE-7D211DD7E01D}"/>
              </a:ext>
            </a:extLst>
          </p:cNvPr>
          <p:cNvSpPr>
            <a:spLocks noGrp="1"/>
          </p:cNvSpPr>
          <p:nvPr>
            <p:ph type="body" sz="quarter" idx="16" hasCustomPrompt="1"/>
          </p:nvPr>
        </p:nvSpPr>
        <p:spPr>
          <a:xfrm>
            <a:off x="477078" y="6484545"/>
            <a:ext cx="10222992" cy="189802"/>
          </a:xfrm>
        </p:spPr>
        <p:txBody>
          <a:bodyPr anchor="b"/>
          <a:lstStyle>
            <a:lvl1pPr marL="0" indent="0">
              <a:buNone/>
              <a:defRPr sz="800">
                <a:solidFill>
                  <a:schemeClr val="tx1">
                    <a:lumMod val="50000"/>
                    <a:lumOff val="50000"/>
                  </a:schemeClr>
                </a:solidFill>
              </a:defRPr>
            </a:lvl1pPr>
            <a:lvl2pPr marL="163703" indent="0">
              <a:buNone/>
              <a:defRPr/>
            </a:lvl2pPr>
            <a:lvl3pPr marL="347663" indent="0">
              <a:buNone/>
              <a:defRPr/>
            </a:lvl3pPr>
            <a:lvl4pPr marL="512064" indent="0">
              <a:buNone/>
              <a:defRPr/>
            </a:lvl4pPr>
            <a:lvl5pPr>
              <a:buNone/>
              <a:defRPr/>
            </a:lvl5pPr>
          </a:lstStyle>
          <a:p>
            <a:pPr lvl="0"/>
            <a:r>
              <a:rPr lang="en-US"/>
              <a:t>Edit source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FFFFFF"/>
                </a:solidFill>
              </a:rPr>
              <a:pPr algn="r">
                <a:lnSpc>
                  <a:spcPct val="125000"/>
                </a:lnSpc>
              </a:p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B56BFB76-A92A-4105-B0D9-0E302868BBF0}"/>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3669838D-40C6-4B3C-A350-21FE990CABD1}"/>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a:lnSpc>
                <a:spcPct val="118000"/>
              </a:lnSpc>
              <a:spcAft>
                <a:spcPts val="200"/>
              </a:spcAft>
              <a:defRPr/>
            </a:pPr>
            <a:r>
              <a:rPr lang="en-US" sz="1400">
                <a:solidFill>
                  <a:srgbClr val="000000">
                    <a:lumMod val="85000"/>
                    <a:lumOff val="15000"/>
                  </a:srgbClr>
                </a:solidFill>
              </a:rPr>
              <a:t>Follow us on:</a:t>
            </a:r>
          </a:p>
          <a:p>
            <a:pPr>
              <a:lnSpc>
                <a:spcPct val="118000"/>
              </a:lnSpc>
              <a:spcAft>
                <a:spcPts val="200"/>
              </a:spcAft>
              <a:defRPr/>
            </a:pPr>
            <a:r>
              <a:rPr lang="en-US" sz="1400">
                <a:solidFill>
                  <a:srgbClr val="000000">
                    <a:lumMod val="85000"/>
                    <a:lumOff val="15000"/>
                  </a:srgbClr>
                </a:solidFill>
              </a:rPr>
              <a:t>For more information, visit us at:</a:t>
            </a:r>
          </a:p>
          <a:p>
            <a:pPr>
              <a:lnSpc>
                <a:spcPct val="118000"/>
              </a:lnSpc>
              <a:spcAft>
                <a:spcPts val="200"/>
              </a:spcAft>
              <a:defRPr/>
            </a:pPr>
            <a:r>
              <a:rPr lang="en-US" sz="1400">
                <a:solidFill>
                  <a:srgbClr val="000000">
                    <a:lumMod val="85000"/>
                    <a:lumOff val="15000"/>
                  </a:srgbClr>
                </a:solidFill>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a:lnSpc>
                <a:spcPct val="118000"/>
              </a:lnSpc>
              <a:spcAft>
                <a:spcPts val="200"/>
              </a:spcAft>
              <a:defRPr/>
            </a:pPr>
            <a:r>
              <a:rPr lang="en-US" sz="5400">
                <a:solidFill>
                  <a:prstClr val="black"/>
                </a:solidFill>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endParaRPr>
          </a:p>
        </p:txBody>
      </p:sp>
      <p:sp>
        <p:nvSpPr>
          <p:cNvPr id="15" name="TextBox 14">
            <a:extLst>
              <a:ext uri="{FF2B5EF4-FFF2-40B4-BE49-F238E27FC236}">
                <a16:creationId xmlns:a16="http://schemas.microsoft.com/office/drawing/2014/main" id="{C8FEDB5B-F5A8-47E1-B761-005A9BC51F0D}"/>
              </a:ext>
            </a:extLst>
          </p:cNvPr>
          <p:cNvSpPr txBox="1"/>
          <p:nvPr userDrawn="1"/>
        </p:nvSpPr>
        <p:spPr bwMode="gray">
          <a:xfrm>
            <a:off x="494974" y="4086843"/>
            <a:ext cx="3456432" cy="166667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Nothing in these materials is an offer to sell any of the components or devices referenced herein.</a:t>
            </a:r>
          </a:p>
          <a:p>
            <a:pPr>
              <a:lnSpc>
                <a:spcPct val="118000"/>
              </a:lnSpc>
              <a:spcAft>
                <a:spcPts val="900"/>
              </a:spcAft>
              <a:defRPr/>
            </a:pPr>
            <a:r>
              <a:rPr lang="en-US" sz="1000">
                <a:solidFill>
                  <a:prstClr val="white"/>
                </a:solidFill>
              </a:rPr>
              <a:t>©2017 Qualcomm Technologies, Inc. and/or its affiliated companies. All Rights Reserved.</a:t>
            </a:r>
          </a:p>
          <a:p>
            <a:pPr>
              <a:lnSpc>
                <a:spcPct val="118000"/>
              </a:lnSpc>
              <a:spcAft>
                <a:spcPts val="900"/>
              </a:spcAft>
              <a:defRPr/>
            </a:pPr>
            <a:r>
              <a:rPr lang="en-US" sz="1000">
                <a:solidFill>
                  <a:prstClr val="white"/>
                </a:solidFill>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FECEED46-2313-4721-8D5B-5C9CD22906CD}"/>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a:lnSpc>
                <a:spcPct val="118000"/>
              </a:lnSpc>
              <a:spcAft>
                <a:spcPts val="900"/>
              </a:spcAft>
              <a:defRPr/>
            </a:pPr>
            <a:r>
              <a:rPr lang="en-US" sz="1000">
                <a:solidFill>
                  <a:prstClr val="white"/>
                </a:solidFill>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4">
            <a:extLst>
              <a:ext uri="{FF2B5EF4-FFF2-40B4-BE49-F238E27FC236}">
                <a16:creationId xmlns:a16="http://schemas.microsoft.com/office/drawing/2014/main" id="{379BCE9F-B7E9-445D-B396-3D6F276DBE2C}"/>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20361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cxnSp>
        <p:nvCxnSpPr>
          <p:cNvPr id="5" name="Straight Connector 4"/>
          <p:cNvCxnSpPr/>
          <p:nvPr userDrawn="1"/>
        </p:nvCxnSpPr>
        <p:spPr>
          <a:xfrm>
            <a:off x="370372" y="504825"/>
            <a:ext cx="11451271"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370372" y="736620"/>
            <a:ext cx="11451271" cy="507831"/>
          </a:xfrm>
          <a:prstGeom prst="rect">
            <a:avLst/>
          </a:prstGeom>
        </p:spPr>
        <p:txBody>
          <a:bodyPr vert="horz" wrap="square" lIns="0" tIns="45720" rIns="0" bIns="45720" rtlCol="0" anchor="ctr">
            <a:noAutofit/>
          </a:bodyPr>
          <a:lstStyle>
            <a:lvl1pPr>
              <a:defRPr>
                <a:latin typeface="+mj-lt"/>
              </a:defRPr>
            </a:lvl1pPr>
          </a:lstStyle>
          <a:p>
            <a:r>
              <a:rPr lang="en-US"/>
              <a:t>Click to edit Master title style</a:t>
            </a:r>
          </a:p>
        </p:txBody>
      </p:sp>
      <p:sp>
        <p:nvSpPr>
          <p:cNvPr id="8" name="Text Placeholder 2"/>
          <p:cNvSpPr>
            <a:spLocks noGrp="1"/>
          </p:cNvSpPr>
          <p:nvPr>
            <p:ph type="body" idx="13"/>
          </p:nvPr>
        </p:nvSpPr>
        <p:spPr>
          <a:xfrm>
            <a:off x="370372" y="1426470"/>
            <a:ext cx="11451271" cy="350865"/>
          </a:xfrm>
        </p:spPr>
        <p:txBody>
          <a:bodyPr tIns="0" bIns="0" anchor="t"/>
          <a:lstStyle>
            <a:lvl1pPr marL="0" indent="0">
              <a:buNone/>
              <a:defRPr sz="2400" b="0">
                <a:solidFill>
                  <a:schemeClr val="tx2"/>
                </a:solidFill>
                <a:latin typeface="+mj-lt"/>
              </a:defRPr>
            </a:lvl1pPr>
            <a:lvl2pPr marL="457178" indent="0">
              <a:buNone/>
              <a:defRPr sz="2000" b="1"/>
            </a:lvl2pPr>
            <a:lvl3pPr marL="914356" indent="0">
              <a:buNone/>
              <a:defRPr sz="1800" b="1"/>
            </a:lvl3pPr>
            <a:lvl4pPr marL="1371530"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7" indent="0">
              <a:buNone/>
              <a:defRPr sz="1600" b="1"/>
            </a:lvl9pPr>
          </a:lstStyle>
          <a:p>
            <a:pPr lvl="0"/>
            <a:r>
              <a:rPr lang="en-US"/>
              <a:t>Click to edit Master text styles</a:t>
            </a:r>
          </a:p>
        </p:txBody>
      </p:sp>
      <p:sp>
        <p:nvSpPr>
          <p:cNvPr id="9" name="Text Placeholder 8"/>
          <p:cNvSpPr>
            <a:spLocks noGrp="1"/>
          </p:cNvSpPr>
          <p:nvPr>
            <p:ph type="body" sz="quarter" idx="14"/>
          </p:nvPr>
        </p:nvSpPr>
        <p:spPr>
          <a:xfrm>
            <a:off x="370372" y="1934907"/>
            <a:ext cx="11451271" cy="16466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5579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7CB806AF-A4FA-41A7-9F03-EB95AAD40144}"/>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496675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BFC158-0437-4861-A331-793AEAD35420}"/>
              </a:ext>
            </a:extLst>
          </p:cNvPr>
          <p:cNvSpPr>
            <a:spLocks noGrp="1"/>
          </p:cNvSpPr>
          <p:nvPr>
            <p:ph type="dt" sz="half" idx="10"/>
          </p:nvPr>
        </p:nvSpPr>
        <p:spPr/>
        <p:txBody>
          <a:bodyPr/>
          <a:lstStyle/>
          <a:p>
            <a:fld id="{E40687EC-8531-4BC9-AF51-305FB7AD17AE}" type="datetimeFigureOut">
              <a:rPr lang="en-US" smtClean="0"/>
              <a:t>8/21/2023</a:t>
            </a:fld>
            <a:endParaRPr lang="en-US"/>
          </a:p>
        </p:txBody>
      </p:sp>
      <p:sp>
        <p:nvSpPr>
          <p:cNvPr id="3" name="Footer Placeholder 2">
            <a:extLst>
              <a:ext uri="{FF2B5EF4-FFF2-40B4-BE49-F238E27FC236}">
                <a16:creationId xmlns:a16="http://schemas.microsoft.com/office/drawing/2014/main" id="{4AE74C08-05CD-49CA-B2C5-7AC2A982CF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2D9277D-E6CB-48F1-B269-37093668063A}"/>
              </a:ext>
            </a:extLst>
          </p:cNvPr>
          <p:cNvSpPr>
            <a:spLocks noGrp="1"/>
          </p:cNvSpPr>
          <p:nvPr>
            <p:ph type="sldNum" sz="quarter" idx="12"/>
          </p:nvPr>
        </p:nvSpPr>
        <p:spPr/>
        <p:txBody>
          <a:bodyPr/>
          <a:lstStyle/>
          <a:p>
            <a:fld id="{356F3190-74D7-4AF5-85EC-5E6055953409}" type="slidenum">
              <a:rPr lang="en-US" smtClean="0"/>
              <a:t>‹#›</a:t>
            </a:fld>
            <a:endParaRPr lang="en-US"/>
          </a:p>
        </p:txBody>
      </p:sp>
    </p:spTree>
    <p:extLst>
      <p:ext uri="{BB962C8B-B14F-4D97-AF65-F5344CB8AC3E}">
        <p14:creationId xmlns:p14="http://schemas.microsoft.com/office/powerpoint/2010/main" val="10900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_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40841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15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9DAFA7A1-4B6E-48A3-A231-797857DC24DC}"/>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A9DA6BD7-1608-4819-BED9-2D1222619519}"/>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43604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064" y="1933395"/>
            <a:ext cx="11432977" cy="1398844"/>
          </a:xfrm>
        </p:spPr>
        <p:txBody>
          <a:bodyPr/>
          <a:lstStyle>
            <a:lvl1pPr>
              <a:defRPr>
                <a:latin typeface="Qualcomm Office Regular" pitchFamily="34" charset="0"/>
              </a:defRPr>
            </a:lvl1pPr>
            <a:lvl2pPr>
              <a:defRPr>
                <a:latin typeface="Qualcomm Office Regular" pitchFamily="34" charset="0"/>
              </a:defRPr>
            </a:lvl2pPr>
            <a:lvl3pPr>
              <a:defRPr>
                <a:latin typeface="Qualcomm Office Regular" pitchFamily="34" charset="0"/>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600200" indent="-347472">
              <a:buFont typeface="Qualcomm Office Regular" pitchFamily="34" charset="0"/>
              <a:buChar char="−"/>
              <a:defRPr/>
            </a:lvl5pPr>
            <a:lvl6pPr marL="2171700" indent="0">
              <a:buNone/>
              <a:defRPr sz="1600"/>
            </a:lvl6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4"/>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8"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43070415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with no content">
    <p:spTree>
      <p:nvGrpSpPr>
        <p:cNvPr id="1" name=""/>
        <p:cNvGrpSpPr/>
        <p:nvPr/>
      </p:nvGrpSpPr>
      <p:grpSpPr>
        <a:xfrm>
          <a:off x="0" y="0"/>
          <a:ext cx="0" cy="0"/>
          <a:chOff x="0" y="0"/>
          <a:chExt cx="0" cy="0"/>
        </a:xfrm>
      </p:grpSpPr>
      <p:cxnSp>
        <p:nvCxnSpPr>
          <p:cNvPr id="13" name="Straight Connector 12"/>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
        <p:nvSpPr>
          <p:cNvPr id="9" name="Text Placeholder 2"/>
          <p:cNvSpPr>
            <a:spLocks noGrp="1"/>
          </p:cNvSpPr>
          <p:nvPr>
            <p:ph type="body" idx="13"/>
          </p:nvPr>
        </p:nvSpPr>
        <p:spPr>
          <a:xfrm>
            <a:off x="283538" y="1426465"/>
            <a:ext cx="11432977" cy="350865"/>
          </a:xfrm>
        </p:spPr>
        <p:txBody>
          <a:bodyPr tIns="0" bIns="0" anchor="t"/>
          <a:lstStyle>
            <a:lvl1pPr marL="0" indent="0">
              <a:buNone/>
              <a:defRPr sz="2400" b="0">
                <a:solidFill>
                  <a:schemeClr val="bg2"/>
                </a:solidFill>
                <a:latin typeface="Qualcomm Office Regular"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1174229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Title and Content">
    <p:bg>
      <p:bgPr>
        <a:gradFill>
          <a:gsLst>
            <a:gs pos="0">
              <a:srgbClr val="143C66"/>
            </a:gs>
            <a:gs pos="100000">
              <a:srgbClr val="008E95"/>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093" y="367995"/>
            <a:ext cx="6820292" cy="923330"/>
          </a:xfrm>
          <a:prstGeom prst="rect">
            <a:avLst/>
          </a:prstGeom>
        </p:spPr>
        <p:txBody>
          <a:bodyPr/>
          <a:lstStyle>
            <a:lvl1pPr>
              <a:defRPr baseline="0">
                <a:solidFill>
                  <a:schemeClr val="bg1"/>
                </a:solidFill>
              </a:defRPr>
            </a:lvl1pPr>
          </a:lstStyle>
          <a:p>
            <a:r>
              <a:rPr lang="en-US"/>
              <a:t>Click here to edit name </a:t>
            </a:r>
            <a:br>
              <a:rPr lang="en-US"/>
            </a:br>
            <a:r>
              <a:rPr lang="en-US"/>
              <a:t>and title</a:t>
            </a:r>
          </a:p>
        </p:txBody>
      </p:sp>
      <p:grpSp>
        <p:nvGrpSpPr>
          <p:cNvPr id="7" name="Group 6"/>
          <p:cNvGrpSpPr/>
          <p:nvPr userDrawn="1"/>
        </p:nvGrpSpPr>
        <p:grpSpPr bwMode="black">
          <a:xfrm>
            <a:off x="7006002" y="4564076"/>
            <a:ext cx="1102001" cy="1605174"/>
            <a:chOff x="4921606" y="4143170"/>
            <a:chExt cx="1102001" cy="1605174"/>
          </a:xfrm>
        </p:grpSpPr>
        <p:sp>
          <p:nvSpPr>
            <p:cNvPr id="8" name="Freeform 6"/>
            <p:cNvSpPr>
              <a:spLocks noEditPoints="1"/>
            </p:cNvSpPr>
            <p:nvPr userDrawn="1"/>
          </p:nvSpPr>
          <p:spPr bwMode="black">
            <a:xfrm>
              <a:off x="4977950" y="5297585"/>
              <a:ext cx="85173" cy="94345"/>
            </a:xfrm>
            <a:custGeom>
              <a:avLst/>
              <a:gdLst>
                <a:gd name="T0" fmla="*/ 65 w 65"/>
                <a:gd name="T1" fmla="*/ 72 h 72"/>
                <a:gd name="T2" fmla="*/ 0 w 65"/>
                <a:gd name="T3" fmla="*/ 39 h 72"/>
                <a:gd name="T4" fmla="*/ 61 w 65"/>
                <a:gd name="T5" fmla="*/ 0 h 72"/>
                <a:gd name="T6" fmla="*/ 65 w 65"/>
                <a:gd name="T7" fmla="*/ 72 h 72"/>
                <a:gd name="T8" fmla="*/ 18 w 65"/>
                <a:gd name="T9" fmla="*/ 38 h 72"/>
                <a:gd name="T10" fmla="*/ 55 w 65"/>
                <a:gd name="T11" fmla="*/ 57 h 72"/>
                <a:gd name="T12" fmla="*/ 53 w 65"/>
                <a:gd name="T13" fmla="*/ 15 h 72"/>
                <a:gd name="T14" fmla="*/ 18 w 65"/>
                <a:gd name="T15" fmla="*/ 38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72">
                  <a:moveTo>
                    <a:pt x="65" y="72"/>
                  </a:moveTo>
                  <a:lnTo>
                    <a:pt x="0" y="39"/>
                  </a:lnTo>
                  <a:lnTo>
                    <a:pt x="61" y="0"/>
                  </a:lnTo>
                  <a:lnTo>
                    <a:pt x="65" y="72"/>
                  </a:lnTo>
                  <a:close/>
                  <a:moveTo>
                    <a:pt x="18" y="38"/>
                  </a:moveTo>
                  <a:lnTo>
                    <a:pt x="55" y="57"/>
                  </a:lnTo>
                  <a:lnTo>
                    <a:pt x="53" y="15"/>
                  </a:lnTo>
                  <a:lnTo>
                    <a:pt x="18"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9" name="Curved Line"/>
            <p:cNvSpPr>
              <a:spLocks noEditPoints="1"/>
            </p:cNvSpPr>
            <p:nvPr userDrawn="1"/>
          </p:nvSpPr>
          <p:spPr bwMode="black">
            <a:xfrm>
              <a:off x="4921606" y="4143170"/>
              <a:ext cx="1102001" cy="1605174"/>
            </a:xfrm>
            <a:custGeom>
              <a:avLst/>
              <a:gdLst>
                <a:gd name="T0" fmla="*/ 139 w 489"/>
                <a:gd name="T1" fmla="*/ 711 h 712"/>
                <a:gd name="T2" fmla="*/ 196 w 489"/>
                <a:gd name="T3" fmla="*/ 706 h 712"/>
                <a:gd name="T4" fmla="*/ 111 w 489"/>
                <a:gd name="T5" fmla="*/ 703 h 712"/>
                <a:gd name="T6" fmla="*/ 212 w 489"/>
                <a:gd name="T7" fmla="*/ 692 h 712"/>
                <a:gd name="T8" fmla="*/ 92 w 489"/>
                <a:gd name="T9" fmla="*/ 694 h 712"/>
                <a:gd name="T10" fmla="*/ 222 w 489"/>
                <a:gd name="T11" fmla="*/ 694 h 712"/>
                <a:gd name="T12" fmla="*/ 234 w 489"/>
                <a:gd name="T13" fmla="*/ 676 h 712"/>
                <a:gd name="T14" fmla="*/ 57 w 489"/>
                <a:gd name="T15" fmla="*/ 650 h 712"/>
                <a:gd name="T16" fmla="*/ 261 w 489"/>
                <a:gd name="T17" fmla="*/ 653 h 712"/>
                <a:gd name="T18" fmla="*/ 265 w 489"/>
                <a:gd name="T19" fmla="*/ 646 h 712"/>
                <a:gd name="T20" fmla="*/ 41 w 489"/>
                <a:gd name="T21" fmla="*/ 613 h 712"/>
                <a:gd name="T22" fmla="*/ 272 w 489"/>
                <a:gd name="T23" fmla="*/ 626 h 712"/>
                <a:gd name="T24" fmla="*/ 269 w 489"/>
                <a:gd name="T25" fmla="*/ 604 h 712"/>
                <a:gd name="T26" fmla="*/ 33 w 489"/>
                <a:gd name="T27" fmla="*/ 585 h 712"/>
                <a:gd name="T28" fmla="*/ 274 w 489"/>
                <a:gd name="T29" fmla="*/ 583 h 712"/>
                <a:gd name="T30" fmla="*/ 264 w 489"/>
                <a:gd name="T31" fmla="*/ 564 h 712"/>
                <a:gd name="T32" fmla="*/ 257 w 489"/>
                <a:gd name="T33" fmla="*/ 529 h 712"/>
                <a:gd name="T34" fmla="*/ 248 w 489"/>
                <a:gd name="T35" fmla="*/ 526 h 712"/>
                <a:gd name="T36" fmla="*/ 218 w 489"/>
                <a:gd name="T37" fmla="*/ 479 h 712"/>
                <a:gd name="T38" fmla="*/ 219 w 489"/>
                <a:gd name="T39" fmla="*/ 469 h 712"/>
                <a:gd name="T40" fmla="*/ 188 w 489"/>
                <a:gd name="T41" fmla="*/ 440 h 712"/>
                <a:gd name="T42" fmla="*/ 170 w 489"/>
                <a:gd name="T43" fmla="*/ 410 h 712"/>
                <a:gd name="T44" fmla="*/ 161 w 489"/>
                <a:gd name="T45" fmla="*/ 409 h 712"/>
                <a:gd name="T46" fmla="*/ 123 w 489"/>
                <a:gd name="T47" fmla="*/ 367 h 712"/>
                <a:gd name="T48" fmla="*/ 123 w 489"/>
                <a:gd name="T49" fmla="*/ 358 h 712"/>
                <a:gd name="T50" fmla="*/ 90 w 489"/>
                <a:gd name="T51" fmla="*/ 331 h 712"/>
                <a:gd name="T52" fmla="*/ 72 w 489"/>
                <a:gd name="T53" fmla="*/ 300 h 712"/>
                <a:gd name="T54" fmla="*/ 63 w 489"/>
                <a:gd name="T55" fmla="*/ 299 h 712"/>
                <a:gd name="T56" fmla="*/ 31 w 489"/>
                <a:gd name="T57" fmla="*/ 253 h 712"/>
                <a:gd name="T58" fmla="*/ 32 w 489"/>
                <a:gd name="T59" fmla="*/ 244 h 712"/>
                <a:gd name="T60" fmla="*/ 9 w 489"/>
                <a:gd name="T61" fmla="*/ 208 h 712"/>
                <a:gd name="T62" fmla="*/ 485 w 489"/>
                <a:gd name="T63" fmla="*/ 188 h 712"/>
                <a:gd name="T64" fmla="*/ 4 w 489"/>
                <a:gd name="T65" fmla="*/ 188 h 712"/>
                <a:gd name="T66" fmla="*/ 0 w 489"/>
                <a:gd name="T67" fmla="*/ 152 h 712"/>
                <a:gd name="T68" fmla="*/ 473 w 489"/>
                <a:gd name="T69" fmla="*/ 162 h 712"/>
                <a:gd name="T70" fmla="*/ 6 w 489"/>
                <a:gd name="T71" fmla="*/ 145 h 712"/>
                <a:gd name="T72" fmla="*/ 444 w 489"/>
                <a:gd name="T73" fmla="*/ 131 h 712"/>
                <a:gd name="T74" fmla="*/ 4 w 489"/>
                <a:gd name="T75" fmla="*/ 110 h 712"/>
                <a:gd name="T76" fmla="*/ 431 w 489"/>
                <a:gd name="T77" fmla="*/ 115 h 712"/>
                <a:gd name="T78" fmla="*/ 406 w 489"/>
                <a:gd name="T79" fmla="*/ 90 h 712"/>
                <a:gd name="T80" fmla="*/ 405 w 489"/>
                <a:gd name="T81" fmla="*/ 81 h 712"/>
                <a:gd name="T82" fmla="*/ 384 w 489"/>
                <a:gd name="T83" fmla="*/ 73 h 712"/>
                <a:gd name="T84" fmla="*/ 34 w 489"/>
                <a:gd name="T85" fmla="*/ 53 h 712"/>
                <a:gd name="T86" fmla="*/ 367 w 489"/>
                <a:gd name="T87" fmla="*/ 61 h 712"/>
                <a:gd name="T88" fmla="*/ 337 w 489"/>
                <a:gd name="T89" fmla="*/ 44 h 712"/>
                <a:gd name="T90" fmla="*/ 334 w 489"/>
                <a:gd name="T91" fmla="*/ 35 h 712"/>
                <a:gd name="T92" fmla="*/ 312 w 489"/>
                <a:gd name="T93" fmla="*/ 32 h 712"/>
                <a:gd name="T94" fmla="*/ 86 w 489"/>
                <a:gd name="T95" fmla="*/ 17 h 712"/>
                <a:gd name="T96" fmla="*/ 292 w 489"/>
                <a:gd name="T97" fmla="*/ 25 h 712"/>
                <a:gd name="T98" fmla="*/ 259 w 489"/>
                <a:gd name="T99" fmla="*/ 16 h 712"/>
                <a:gd name="T100" fmla="*/ 254 w 489"/>
                <a:gd name="T101" fmla="*/ 8 h 712"/>
                <a:gd name="T102" fmla="*/ 232 w 489"/>
                <a:gd name="T103" fmla="*/ 10 h 712"/>
                <a:gd name="T104" fmla="*/ 146 w 489"/>
                <a:gd name="T105" fmla="*/ 1 h 712"/>
                <a:gd name="T106" fmla="*/ 198 w 489"/>
                <a:gd name="T107" fmla="*/ 1 h 712"/>
                <a:gd name="T108" fmla="*/ 156 w 489"/>
                <a:gd name="T109" fmla="*/ 7 h 712"/>
                <a:gd name="T110" fmla="*/ 190 w 489"/>
                <a:gd name="T111" fmla="*/ 7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9" h="712">
                  <a:moveTo>
                    <a:pt x="160" y="712"/>
                  </a:moveTo>
                  <a:cubicBezTo>
                    <a:pt x="160" y="706"/>
                    <a:pt x="160" y="706"/>
                    <a:pt x="160" y="706"/>
                  </a:cubicBezTo>
                  <a:cubicBezTo>
                    <a:pt x="165" y="706"/>
                    <a:pt x="169" y="705"/>
                    <a:pt x="174" y="705"/>
                  </a:cubicBezTo>
                  <a:cubicBezTo>
                    <a:pt x="175" y="711"/>
                    <a:pt x="175" y="711"/>
                    <a:pt x="175" y="711"/>
                  </a:cubicBezTo>
                  <a:cubicBezTo>
                    <a:pt x="170" y="711"/>
                    <a:pt x="165" y="712"/>
                    <a:pt x="160" y="712"/>
                  </a:cubicBezTo>
                  <a:close/>
                  <a:moveTo>
                    <a:pt x="153" y="712"/>
                  </a:moveTo>
                  <a:cubicBezTo>
                    <a:pt x="148" y="712"/>
                    <a:pt x="144" y="711"/>
                    <a:pt x="139" y="711"/>
                  </a:cubicBezTo>
                  <a:cubicBezTo>
                    <a:pt x="140" y="705"/>
                    <a:pt x="140" y="705"/>
                    <a:pt x="140" y="705"/>
                  </a:cubicBezTo>
                  <a:cubicBezTo>
                    <a:pt x="144" y="705"/>
                    <a:pt x="149" y="706"/>
                    <a:pt x="153" y="706"/>
                  </a:cubicBezTo>
                  <a:lnTo>
                    <a:pt x="153" y="712"/>
                  </a:lnTo>
                  <a:close/>
                  <a:moveTo>
                    <a:pt x="182" y="710"/>
                  </a:moveTo>
                  <a:cubicBezTo>
                    <a:pt x="180" y="703"/>
                    <a:pt x="180" y="703"/>
                    <a:pt x="180" y="703"/>
                  </a:cubicBezTo>
                  <a:cubicBezTo>
                    <a:pt x="185" y="702"/>
                    <a:pt x="189" y="701"/>
                    <a:pt x="194" y="700"/>
                  </a:cubicBezTo>
                  <a:cubicBezTo>
                    <a:pt x="196" y="706"/>
                    <a:pt x="196" y="706"/>
                    <a:pt x="196" y="706"/>
                  </a:cubicBezTo>
                  <a:cubicBezTo>
                    <a:pt x="191" y="707"/>
                    <a:pt x="186" y="709"/>
                    <a:pt x="182" y="710"/>
                  </a:cubicBezTo>
                  <a:close/>
                  <a:moveTo>
                    <a:pt x="132" y="710"/>
                  </a:moveTo>
                  <a:cubicBezTo>
                    <a:pt x="127" y="709"/>
                    <a:pt x="122" y="707"/>
                    <a:pt x="118" y="706"/>
                  </a:cubicBezTo>
                  <a:cubicBezTo>
                    <a:pt x="120" y="700"/>
                    <a:pt x="120" y="700"/>
                    <a:pt x="120" y="700"/>
                  </a:cubicBezTo>
                  <a:cubicBezTo>
                    <a:pt x="124" y="701"/>
                    <a:pt x="129" y="702"/>
                    <a:pt x="133" y="703"/>
                  </a:cubicBezTo>
                  <a:lnTo>
                    <a:pt x="132" y="710"/>
                  </a:lnTo>
                  <a:close/>
                  <a:moveTo>
                    <a:pt x="111" y="703"/>
                  </a:moveTo>
                  <a:cubicBezTo>
                    <a:pt x="107" y="702"/>
                    <a:pt x="102" y="700"/>
                    <a:pt x="98" y="697"/>
                  </a:cubicBezTo>
                  <a:cubicBezTo>
                    <a:pt x="101" y="692"/>
                    <a:pt x="101" y="692"/>
                    <a:pt x="101" y="692"/>
                  </a:cubicBezTo>
                  <a:cubicBezTo>
                    <a:pt x="105" y="694"/>
                    <a:pt x="109" y="696"/>
                    <a:pt x="113" y="698"/>
                  </a:cubicBezTo>
                  <a:lnTo>
                    <a:pt x="111" y="703"/>
                  </a:lnTo>
                  <a:close/>
                  <a:moveTo>
                    <a:pt x="202" y="703"/>
                  </a:moveTo>
                  <a:cubicBezTo>
                    <a:pt x="200" y="698"/>
                    <a:pt x="200" y="698"/>
                    <a:pt x="200" y="698"/>
                  </a:cubicBezTo>
                  <a:cubicBezTo>
                    <a:pt x="204" y="696"/>
                    <a:pt x="208" y="694"/>
                    <a:pt x="212" y="692"/>
                  </a:cubicBezTo>
                  <a:cubicBezTo>
                    <a:pt x="215" y="697"/>
                    <a:pt x="215" y="697"/>
                    <a:pt x="215" y="697"/>
                  </a:cubicBezTo>
                  <a:cubicBezTo>
                    <a:pt x="211" y="700"/>
                    <a:pt x="207" y="702"/>
                    <a:pt x="202" y="703"/>
                  </a:cubicBezTo>
                  <a:close/>
                  <a:moveTo>
                    <a:pt x="92" y="694"/>
                  </a:moveTo>
                  <a:cubicBezTo>
                    <a:pt x="88" y="691"/>
                    <a:pt x="84" y="689"/>
                    <a:pt x="80" y="686"/>
                  </a:cubicBezTo>
                  <a:cubicBezTo>
                    <a:pt x="84" y="681"/>
                    <a:pt x="84" y="681"/>
                    <a:pt x="84" y="681"/>
                  </a:cubicBezTo>
                  <a:cubicBezTo>
                    <a:pt x="88" y="683"/>
                    <a:pt x="91" y="686"/>
                    <a:pt x="95" y="688"/>
                  </a:cubicBezTo>
                  <a:lnTo>
                    <a:pt x="92" y="694"/>
                  </a:lnTo>
                  <a:close/>
                  <a:moveTo>
                    <a:pt x="222" y="694"/>
                  </a:moveTo>
                  <a:cubicBezTo>
                    <a:pt x="218" y="688"/>
                    <a:pt x="218" y="688"/>
                    <a:pt x="218" y="688"/>
                  </a:cubicBezTo>
                  <a:cubicBezTo>
                    <a:pt x="221" y="687"/>
                    <a:pt x="224" y="685"/>
                    <a:pt x="227" y="683"/>
                  </a:cubicBezTo>
                  <a:cubicBezTo>
                    <a:pt x="229" y="680"/>
                    <a:pt x="229" y="680"/>
                    <a:pt x="229" y="680"/>
                  </a:cubicBezTo>
                  <a:cubicBezTo>
                    <a:pt x="233" y="685"/>
                    <a:pt x="233" y="685"/>
                    <a:pt x="233" y="685"/>
                  </a:cubicBezTo>
                  <a:cubicBezTo>
                    <a:pt x="231" y="688"/>
                    <a:pt x="231" y="688"/>
                    <a:pt x="231" y="688"/>
                  </a:cubicBezTo>
                  <a:cubicBezTo>
                    <a:pt x="228" y="690"/>
                    <a:pt x="225" y="692"/>
                    <a:pt x="222" y="694"/>
                  </a:cubicBezTo>
                  <a:close/>
                  <a:moveTo>
                    <a:pt x="75" y="681"/>
                  </a:moveTo>
                  <a:cubicBezTo>
                    <a:pt x="71" y="678"/>
                    <a:pt x="68" y="674"/>
                    <a:pt x="64" y="671"/>
                  </a:cubicBezTo>
                  <a:cubicBezTo>
                    <a:pt x="69" y="667"/>
                    <a:pt x="69" y="667"/>
                    <a:pt x="69" y="667"/>
                  </a:cubicBezTo>
                  <a:cubicBezTo>
                    <a:pt x="72" y="670"/>
                    <a:pt x="75" y="673"/>
                    <a:pt x="79" y="676"/>
                  </a:cubicBezTo>
                  <a:lnTo>
                    <a:pt x="75" y="681"/>
                  </a:lnTo>
                  <a:close/>
                  <a:moveTo>
                    <a:pt x="239" y="681"/>
                  </a:moveTo>
                  <a:cubicBezTo>
                    <a:pt x="234" y="676"/>
                    <a:pt x="234" y="676"/>
                    <a:pt x="234" y="676"/>
                  </a:cubicBezTo>
                  <a:cubicBezTo>
                    <a:pt x="238" y="673"/>
                    <a:pt x="241" y="669"/>
                    <a:pt x="244" y="666"/>
                  </a:cubicBezTo>
                  <a:cubicBezTo>
                    <a:pt x="249" y="670"/>
                    <a:pt x="249" y="670"/>
                    <a:pt x="249" y="670"/>
                  </a:cubicBezTo>
                  <a:cubicBezTo>
                    <a:pt x="246" y="674"/>
                    <a:pt x="242" y="677"/>
                    <a:pt x="239" y="681"/>
                  </a:cubicBezTo>
                  <a:close/>
                  <a:moveTo>
                    <a:pt x="60" y="665"/>
                  </a:moveTo>
                  <a:cubicBezTo>
                    <a:pt x="59" y="664"/>
                    <a:pt x="58" y="663"/>
                    <a:pt x="57" y="662"/>
                  </a:cubicBezTo>
                  <a:cubicBezTo>
                    <a:pt x="55" y="659"/>
                    <a:pt x="53" y="657"/>
                    <a:pt x="51" y="654"/>
                  </a:cubicBezTo>
                  <a:cubicBezTo>
                    <a:pt x="57" y="650"/>
                    <a:pt x="57" y="650"/>
                    <a:pt x="57" y="650"/>
                  </a:cubicBezTo>
                  <a:cubicBezTo>
                    <a:pt x="59" y="653"/>
                    <a:pt x="60" y="656"/>
                    <a:pt x="62" y="658"/>
                  </a:cubicBezTo>
                  <a:cubicBezTo>
                    <a:pt x="63" y="659"/>
                    <a:pt x="64" y="660"/>
                    <a:pt x="65" y="661"/>
                  </a:cubicBezTo>
                  <a:lnTo>
                    <a:pt x="60" y="665"/>
                  </a:lnTo>
                  <a:close/>
                  <a:moveTo>
                    <a:pt x="253" y="665"/>
                  </a:moveTo>
                  <a:cubicBezTo>
                    <a:pt x="248" y="661"/>
                    <a:pt x="248" y="661"/>
                    <a:pt x="248" y="661"/>
                  </a:cubicBezTo>
                  <a:cubicBezTo>
                    <a:pt x="251" y="657"/>
                    <a:pt x="253" y="653"/>
                    <a:pt x="256" y="649"/>
                  </a:cubicBezTo>
                  <a:cubicBezTo>
                    <a:pt x="261" y="653"/>
                    <a:pt x="261" y="653"/>
                    <a:pt x="261" y="653"/>
                  </a:cubicBezTo>
                  <a:cubicBezTo>
                    <a:pt x="259" y="657"/>
                    <a:pt x="256" y="661"/>
                    <a:pt x="253" y="665"/>
                  </a:cubicBezTo>
                  <a:close/>
                  <a:moveTo>
                    <a:pt x="48" y="648"/>
                  </a:moveTo>
                  <a:cubicBezTo>
                    <a:pt x="45" y="643"/>
                    <a:pt x="43" y="639"/>
                    <a:pt x="42" y="635"/>
                  </a:cubicBezTo>
                  <a:cubicBezTo>
                    <a:pt x="47" y="632"/>
                    <a:pt x="47" y="632"/>
                    <a:pt x="47" y="632"/>
                  </a:cubicBezTo>
                  <a:cubicBezTo>
                    <a:pt x="49" y="636"/>
                    <a:pt x="51" y="640"/>
                    <a:pt x="53" y="644"/>
                  </a:cubicBezTo>
                  <a:lnTo>
                    <a:pt x="48" y="648"/>
                  </a:lnTo>
                  <a:close/>
                  <a:moveTo>
                    <a:pt x="265" y="646"/>
                  </a:moveTo>
                  <a:cubicBezTo>
                    <a:pt x="259" y="644"/>
                    <a:pt x="259" y="644"/>
                    <a:pt x="259" y="644"/>
                  </a:cubicBezTo>
                  <a:cubicBezTo>
                    <a:pt x="261" y="639"/>
                    <a:pt x="263" y="635"/>
                    <a:pt x="264" y="631"/>
                  </a:cubicBezTo>
                  <a:cubicBezTo>
                    <a:pt x="270" y="633"/>
                    <a:pt x="270" y="633"/>
                    <a:pt x="270" y="633"/>
                  </a:cubicBezTo>
                  <a:cubicBezTo>
                    <a:pt x="269" y="637"/>
                    <a:pt x="267" y="642"/>
                    <a:pt x="265" y="646"/>
                  </a:cubicBezTo>
                  <a:close/>
                  <a:moveTo>
                    <a:pt x="39" y="628"/>
                  </a:moveTo>
                  <a:cubicBezTo>
                    <a:pt x="37" y="623"/>
                    <a:pt x="36" y="619"/>
                    <a:pt x="35" y="614"/>
                  </a:cubicBezTo>
                  <a:cubicBezTo>
                    <a:pt x="41" y="613"/>
                    <a:pt x="41" y="613"/>
                    <a:pt x="41" y="613"/>
                  </a:cubicBezTo>
                  <a:cubicBezTo>
                    <a:pt x="42" y="617"/>
                    <a:pt x="44" y="622"/>
                    <a:pt x="45" y="626"/>
                  </a:cubicBezTo>
                  <a:lnTo>
                    <a:pt x="39" y="628"/>
                  </a:lnTo>
                  <a:close/>
                  <a:moveTo>
                    <a:pt x="272" y="626"/>
                  </a:moveTo>
                  <a:cubicBezTo>
                    <a:pt x="266" y="624"/>
                    <a:pt x="266" y="624"/>
                    <a:pt x="266" y="624"/>
                  </a:cubicBezTo>
                  <a:cubicBezTo>
                    <a:pt x="267" y="620"/>
                    <a:pt x="268" y="616"/>
                    <a:pt x="268" y="611"/>
                  </a:cubicBezTo>
                  <a:cubicBezTo>
                    <a:pt x="275" y="612"/>
                    <a:pt x="275" y="612"/>
                    <a:pt x="275" y="612"/>
                  </a:cubicBezTo>
                  <a:cubicBezTo>
                    <a:pt x="274" y="617"/>
                    <a:pt x="273" y="621"/>
                    <a:pt x="272" y="626"/>
                  </a:cubicBezTo>
                  <a:close/>
                  <a:moveTo>
                    <a:pt x="34" y="607"/>
                  </a:moveTo>
                  <a:cubicBezTo>
                    <a:pt x="33" y="602"/>
                    <a:pt x="33" y="597"/>
                    <a:pt x="33" y="593"/>
                  </a:cubicBezTo>
                  <a:cubicBezTo>
                    <a:pt x="39" y="592"/>
                    <a:pt x="39" y="592"/>
                    <a:pt x="39" y="592"/>
                  </a:cubicBezTo>
                  <a:cubicBezTo>
                    <a:pt x="39" y="597"/>
                    <a:pt x="39" y="602"/>
                    <a:pt x="40" y="606"/>
                  </a:cubicBezTo>
                  <a:lnTo>
                    <a:pt x="34" y="607"/>
                  </a:lnTo>
                  <a:close/>
                  <a:moveTo>
                    <a:pt x="275" y="605"/>
                  </a:moveTo>
                  <a:cubicBezTo>
                    <a:pt x="269" y="604"/>
                    <a:pt x="269" y="604"/>
                    <a:pt x="269" y="604"/>
                  </a:cubicBezTo>
                  <a:cubicBezTo>
                    <a:pt x="269" y="603"/>
                    <a:pt x="269" y="601"/>
                    <a:pt x="269" y="599"/>
                  </a:cubicBezTo>
                  <a:cubicBezTo>
                    <a:pt x="269" y="597"/>
                    <a:pt x="269" y="594"/>
                    <a:pt x="269" y="591"/>
                  </a:cubicBezTo>
                  <a:cubicBezTo>
                    <a:pt x="275" y="590"/>
                    <a:pt x="275" y="590"/>
                    <a:pt x="275" y="590"/>
                  </a:cubicBezTo>
                  <a:cubicBezTo>
                    <a:pt x="275" y="593"/>
                    <a:pt x="275" y="596"/>
                    <a:pt x="275" y="599"/>
                  </a:cubicBezTo>
                  <a:cubicBezTo>
                    <a:pt x="275" y="601"/>
                    <a:pt x="275" y="603"/>
                    <a:pt x="275" y="605"/>
                  </a:cubicBezTo>
                  <a:close/>
                  <a:moveTo>
                    <a:pt x="39" y="586"/>
                  </a:moveTo>
                  <a:cubicBezTo>
                    <a:pt x="33" y="585"/>
                    <a:pt x="33" y="585"/>
                    <a:pt x="33" y="585"/>
                  </a:cubicBezTo>
                  <a:cubicBezTo>
                    <a:pt x="33" y="581"/>
                    <a:pt x="33" y="576"/>
                    <a:pt x="34" y="571"/>
                  </a:cubicBezTo>
                  <a:cubicBezTo>
                    <a:pt x="40" y="572"/>
                    <a:pt x="40" y="572"/>
                    <a:pt x="40" y="572"/>
                  </a:cubicBezTo>
                  <a:cubicBezTo>
                    <a:pt x="40" y="577"/>
                    <a:pt x="39" y="581"/>
                    <a:pt x="39" y="586"/>
                  </a:cubicBezTo>
                  <a:close/>
                  <a:moveTo>
                    <a:pt x="268" y="584"/>
                  </a:moveTo>
                  <a:cubicBezTo>
                    <a:pt x="267" y="580"/>
                    <a:pt x="266" y="575"/>
                    <a:pt x="265" y="570"/>
                  </a:cubicBezTo>
                  <a:cubicBezTo>
                    <a:pt x="272" y="569"/>
                    <a:pt x="272" y="569"/>
                    <a:pt x="272" y="569"/>
                  </a:cubicBezTo>
                  <a:cubicBezTo>
                    <a:pt x="273" y="574"/>
                    <a:pt x="274" y="579"/>
                    <a:pt x="274" y="583"/>
                  </a:cubicBezTo>
                  <a:lnTo>
                    <a:pt x="268" y="584"/>
                  </a:lnTo>
                  <a:close/>
                  <a:moveTo>
                    <a:pt x="41" y="565"/>
                  </a:moveTo>
                  <a:cubicBezTo>
                    <a:pt x="35" y="564"/>
                    <a:pt x="35" y="564"/>
                    <a:pt x="35" y="564"/>
                  </a:cubicBezTo>
                  <a:cubicBezTo>
                    <a:pt x="36" y="559"/>
                    <a:pt x="38" y="555"/>
                    <a:pt x="39" y="550"/>
                  </a:cubicBezTo>
                  <a:cubicBezTo>
                    <a:pt x="45" y="552"/>
                    <a:pt x="45" y="552"/>
                    <a:pt x="45" y="552"/>
                  </a:cubicBezTo>
                  <a:cubicBezTo>
                    <a:pt x="44" y="557"/>
                    <a:pt x="42" y="561"/>
                    <a:pt x="41" y="565"/>
                  </a:cubicBezTo>
                  <a:close/>
                  <a:moveTo>
                    <a:pt x="264" y="564"/>
                  </a:moveTo>
                  <a:cubicBezTo>
                    <a:pt x="263" y="560"/>
                    <a:pt x="261" y="555"/>
                    <a:pt x="260" y="551"/>
                  </a:cubicBezTo>
                  <a:cubicBezTo>
                    <a:pt x="265" y="549"/>
                    <a:pt x="265" y="549"/>
                    <a:pt x="265" y="549"/>
                  </a:cubicBezTo>
                  <a:cubicBezTo>
                    <a:pt x="267" y="553"/>
                    <a:pt x="269" y="558"/>
                    <a:pt x="270" y="562"/>
                  </a:cubicBezTo>
                  <a:lnTo>
                    <a:pt x="264" y="564"/>
                  </a:lnTo>
                  <a:close/>
                  <a:moveTo>
                    <a:pt x="257" y="544"/>
                  </a:moveTo>
                  <a:cubicBezTo>
                    <a:pt x="255" y="540"/>
                    <a:pt x="254" y="536"/>
                    <a:pt x="251" y="532"/>
                  </a:cubicBezTo>
                  <a:cubicBezTo>
                    <a:pt x="257" y="529"/>
                    <a:pt x="257" y="529"/>
                    <a:pt x="257" y="529"/>
                  </a:cubicBezTo>
                  <a:cubicBezTo>
                    <a:pt x="259" y="533"/>
                    <a:pt x="261" y="538"/>
                    <a:pt x="263" y="542"/>
                  </a:cubicBezTo>
                  <a:lnTo>
                    <a:pt x="257" y="544"/>
                  </a:lnTo>
                  <a:close/>
                  <a:moveTo>
                    <a:pt x="248" y="526"/>
                  </a:moveTo>
                  <a:cubicBezTo>
                    <a:pt x="246" y="522"/>
                    <a:pt x="244" y="517"/>
                    <a:pt x="242" y="513"/>
                  </a:cubicBezTo>
                  <a:cubicBezTo>
                    <a:pt x="247" y="510"/>
                    <a:pt x="247" y="510"/>
                    <a:pt x="247" y="510"/>
                  </a:cubicBezTo>
                  <a:cubicBezTo>
                    <a:pt x="250" y="514"/>
                    <a:pt x="252" y="518"/>
                    <a:pt x="254" y="523"/>
                  </a:cubicBezTo>
                  <a:lnTo>
                    <a:pt x="248" y="526"/>
                  </a:lnTo>
                  <a:close/>
                  <a:moveTo>
                    <a:pt x="238" y="507"/>
                  </a:moveTo>
                  <a:cubicBezTo>
                    <a:pt x="236" y="504"/>
                    <a:pt x="233" y="500"/>
                    <a:pt x="231" y="496"/>
                  </a:cubicBezTo>
                  <a:cubicBezTo>
                    <a:pt x="236" y="492"/>
                    <a:pt x="236" y="492"/>
                    <a:pt x="236" y="492"/>
                  </a:cubicBezTo>
                  <a:cubicBezTo>
                    <a:pt x="239" y="496"/>
                    <a:pt x="241" y="500"/>
                    <a:pt x="244" y="504"/>
                  </a:cubicBezTo>
                  <a:lnTo>
                    <a:pt x="238" y="507"/>
                  </a:lnTo>
                  <a:close/>
                  <a:moveTo>
                    <a:pt x="227" y="490"/>
                  </a:moveTo>
                  <a:cubicBezTo>
                    <a:pt x="224" y="486"/>
                    <a:pt x="221" y="483"/>
                    <a:pt x="218" y="479"/>
                  </a:cubicBezTo>
                  <a:cubicBezTo>
                    <a:pt x="224" y="475"/>
                    <a:pt x="224" y="475"/>
                    <a:pt x="224" y="475"/>
                  </a:cubicBezTo>
                  <a:cubicBezTo>
                    <a:pt x="226" y="479"/>
                    <a:pt x="229" y="483"/>
                    <a:pt x="232" y="486"/>
                  </a:cubicBezTo>
                  <a:lnTo>
                    <a:pt x="227" y="490"/>
                  </a:lnTo>
                  <a:close/>
                  <a:moveTo>
                    <a:pt x="214" y="473"/>
                  </a:moveTo>
                  <a:cubicBezTo>
                    <a:pt x="211" y="470"/>
                    <a:pt x="209" y="466"/>
                    <a:pt x="206" y="462"/>
                  </a:cubicBezTo>
                  <a:cubicBezTo>
                    <a:pt x="211" y="458"/>
                    <a:pt x="211" y="458"/>
                    <a:pt x="211" y="458"/>
                  </a:cubicBezTo>
                  <a:cubicBezTo>
                    <a:pt x="214" y="462"/>
                    <a:pt x="217" y="466"/>
                    <a:pt x="219" y="469"/>
                  </a:cubicBezTo>
                  <a:lnTo>
                    <a:pt x="214" y="473"/>
                  </a:lnTo>
                  <a:close/>
                  <a:moveTo>
                    <a:pt x="201" y="457"/>
                  </a:moveTo>
                  <a:cubicBezTo>
                    <a:pt x="199" y="453"/>
                    <a:pt x="196" y="449"/>
                    <a:pt x="193" y="446"/>
                  </a:cubicBezTo>
                  <a:cubicBezTo>
                    <a:pt x="198" y="442"/>
                    <a:pt x="198" y="442"/>
                    <a:pt x="198" y="442"/>
                  </a:cubicBezTo>
                  <a:cubicBezTo>
                    <a:pt x="201" y="445"/>
                    <a:pt x="204" y="449"/>
                    <a:pt x="206" y="453"/>
                  </a:cubicBezTo>
                  <a:lnTo>
                    <a:pt x="201" y="457"/>
                  </a:lnTo>
                  <a:close/>
                  <a:moveTo>
                    <a:pt x="188" y="440"/>
                  </a:moveTo>
                  <a:cubicBezTo>
                    <a:pt x="185" y="437"/>
                    <a:pt x="182" y="433"/>
                    <a:pt x="179" y="430"/>
                  </a:cubicBezTo>
                  <a:cubicBezTo>
                    <a:pt x="184" y="426"/>
                    <a:pt x="184" y="426"/>
                    <a:pt x="184" y="426"/>
                  </a:cubicBezTo>
                  <a:cubicBezTo>
                    <a:pt x="187" y="429"/>
                    <a:pt x="190" y="433"/>
                    <a:pt x="193" y="436"/>
                  </a:cubicBezTo>
                  <a:lnTo>
                    <a:pt x="188" y="440"/>
                  </a:lnTo>
                  <a:close/>
                  <a:moveTo>
                    <a:pt x="175" y="425"/>
                  </a:moveTo>
                  <a:cubicBezTo>
                    <a:pt x="172" y="421"/>
                    <a:pt x="169" y="417"/>
                    <a:pt x="166" y="414"/>
                  </a:cubicBezTo>
                  <a:cubicBezTo>
                    <a:pt x="170" y="410"/>
                    <a:pt x="170" y="410"/>
                    <a:pt x="170" y="410"/>
                  </a:cubicBezTo>
                  <a:cubicBezTo>
                    <a:pt x="173" y="413"/>
                    <a:pt x="176" y="417"/>
                    <a:pt x="180" y="420"/>
                  </a:cubicBezTo>
                  <a:lnTo>
                    <a:pt x="175" y="425"/>
                  </a:lnTo>
                  <a:close/>
                  <a:moveTo>
                    <a:pt x="161" y="409"/>
                  </a:moveTo>
                  <a:cubicBezTo>
                    <a:pt x="158" y="405"/>
                    <a:pt x="155" y="402"/>
                    <a:pt x="152" y="398"/>
                  </a:cubicBezTo>
                  <a:cubicBezTo>
                    <a:pt x="156" y="394"/>
                    <a:pt x="156" y="394"/>
                    <a:pt x="156" y="394"/>
                  </a:cubicBezTo>
                  <a:cubicBezTo>
                    <a:pt x="159" y="398"/>
                    <a:pt x="163" y="401"/>
                    <a:pt x="166" y="405"/>
                  </a:cubicBezTo>
                  <a:lnTo>
                    <a:pt x="161" y="409"/>
                  </a:lnTo>
                  <a:close/>
                  <a:moveTo>
                    <a:pt x="147" y="393"/>
                  </a:moveTo>
                  <a:cubicBezTo>
                    <a:pt x="144" y="390"/>
                    <a:pt x="141" y="386"/>
                    <a:pt x="138" y="383"/>
                  </a:cubicBezTo>
                  <a:cubicBezTo>
                    <a:pt x="142" y="379"/>
                    <a:pt x="142" y="379"/>
                    <a:pt x="142" y="379"/>
                  </a:cubicBezTo>
                  <a:cubicBezTo>
                    <a:pt x="145" y="382"/>
                    <a:pt x="148" y="385"/>
                    <a:pt x="152" y="389"/>
                  </a:cubicBezTo>
                  <a:lnTo>
                    <a:pt x="147" y="393"/>
                  </a:lnTo>
                  <a:close/>
                  <a:moveTo>
                    <a:pt x="133" y="378"/>
                  </a:moveTo>
                  <a:cubicBezTo>
                    <a:pt x="123" y="367"/>
                    <a:pt x="123" y="367"/>
                    <a:pt x="123" y="367"/>
                  </a:cubicBezTo>
                  <a:cubicBezTo>
                    <a:pt x="128" y="363"/>
                    <a:pt x="128" y="363"/>
                    <a:pt x="128" y="363"/>
                  </a:cubicBezTo>
                  <a:cubicBezTo>
                    <a:pt x="137" y="373"/>
                    <a:pt x="137" y="373"/>
                    <a:pt x="137" y="373"/>
                  </a:cubicBezTo>
                  <a:lnTo>
                    <a:pt x="133" y="378"/>
                  </a:lnTo>
                  <a:close/>
                  <a:moveTo>
                    <a:pt x="119" y="362"/>
                  </a:moveTo>
                  <a:cubicBezTo>
                    <a:pt x="109" y="352"/>
                    <a:pt x="109" y="352"/>
                    <a:pt x="109" y="352"/>
                  </a:cubicBezTo>
                  <a:cubicBezTo>
                    <a:pt x="114" y="348"/>
                    <a:pt x="114" y="348"/>
                    <a:pt x="114" y="348"/>
                  </a:cubicBezTo>
                  <a:cubicBezTo>
                    <a:pt x="123" y="358"/>
                    <a:pt x="123" y="358"/>
                    <a:pt x="123" y="358"/>
                  </a:cubicBezTo>
                  <a:lnTo>
                    <a:pt x="119" y="362"/>
                  </a:lnTo>
                  <a:close/>
                  <a:moveTo>
                    <a:pt x="104" y="347"/>
                  </a:moveTo>
                  <a:cubicBezTo>
                    <a:pt x="101" y="343"/>
                    <a:pt x="98" y="340"/>
                    <a:pt x="95" y="336"/>
                  </a:cubicBezTo>
                  <a:cubicBezTo>
                    <a:pt x="100" y="332"/>
                    <a:pt x="100" y="332"/>
                    <a:pt x="100" y="332"/>
                  </a:cubicBezTo>
                  <a:cubicBezTo>
                    <a:pt x="103" y="335"/>
                    <a:pt x="106" y="339"/>
                    <a:pt x="109" y="342"/>
                  </a:cubicBezTo>
                  <a:lnTo>
                    <a:pt x="104" y="347"/>
                  </a:lnTo>
                  <a:close/>
                  <a:moveTo>
                    <a:pt x="90" y="331"/>
                  </a:moveTo>
                  <a:cubicBezTo>
                    <a:pt x="87" y="328"/>
                    <a:pt x="84" y="324"/>
                    <a:pt x="81" y="320"/>
                  </a:cubicBezTo>
                  <a:cubicBezTo>
                    <a:pt x="86" y="316"/>
                    <a:pt x="86" y="316"/>
                    <a:pt x="86" y="316"/>
                  </a:cubicBezTo>
                  <a:cubicBezTo>
                    <a:pt x="89" y="320"/>
                    <a:pt x="92" y="323"/>
                    <a:pt x="95" y="327"/>
                  </a:cubicBezTo>
                  <a:lnTo>
                    <a:pt x="90" y="331"/>
                  </a:lnTo>
                  <a:close/>
                  <a:moveTo>
                    <a:pt x="76" y="315"/>
                  </a:moveTo>
                  <a:cubicBezTo>
                    <a:pt x="73" y="312"/>
                    <a:pt x="70" y="308"/>
                    <a:pt x="67" y="304"/>
                  </a:cubicBezTo>
                  <a:cubicBezTo>
                    <a:pt x="72" y="300"/>
                    <a:pt x="72" y="300"/>
                    <a:pt x="72" y="300"/>
                  </a:cubicBezTo>
                  <a:cubicBezTo>
                    <a:pt x="75" y="304"/>
                    <a:pt x="78" y="307"/>
                    <a:pt x="81" y="311"/>
                  </a:cubicBezTo>
                  <a:lnTo>
                    <a:pt x="76" y="315"/>
                  </a:lnTo>
                  <a:close/>
                  <a:moveTo>
                    <a:pt x="63" y="299"/>
                  </a:moveTo>
                  <a:cubicBezTo>
                    <a:pt x="60" y="295"/>
                    <a:pt x="57" y="292"/>
                    <a:pt x="54" y="288"/>
                  </a:cubicBezTo>
                  <a:cubicBezTo>
                    <a:pt x="59" y="284"/>
                    <a:pt x="59" y="284"/>
                    <a:pt x="59" y="284"/>
                  </a:cubicBezTo>
                  <a:cubicBezTo>
                    <a:pt x="62" y="288"/>
                    <a:pt x="65" y="291"/>
                    <a:pt x="68" y="295"/>
                  </a:cubicBezTo>
                  <a:lnTo>
                    <a:pt x="63" y="299"/>
                  </a:lnTo>
                  <a:close/>
                  <a:moveTo>
                    <a:pt x="50" y="282"/>
                  </a:moveTo>
                  <a:cubicBezTo>
                    <a:pt x="47" y="278"/>
                    <a:pt x="45" y="275"/>
                    <a:pt x="42" y="271"/>
                  </a:cubicBezTo>
                  <a:cubicBezTo>
                    <a:pt x="47" y="267"/>
                    <a:pt x="47" y="267"/>
                    <a:pt x="47" y="267"/>
                  </a:cubicBezTo>
                  <a:cubicBezTo>
                    <a:pt x="50" y="271"/>
                    <a:pt x="52" y="275"/>
                    <a:pt x="55" y="278"/>
                  </a:cubicBezTo>
                  <a:lnTo>
                    <a:pt x="50" y="282"/>
                  </a:lnTo>
                  <a:close/>
                  <a:moveTo>
                    <a:pt x="38" y="265"/>
                  </a:moveTo>
                  <a:cubicBezTo>
                    <a:pt x="35" y="261"/>
                    <a:pt x="33" y="257"/>
                    <a:pt x="31" y="253"/>
                  </a:cubicBezTo>
                  <a:cubicBezTo>
                    <a:pt x="36" y="250"/>
                    <a:pt x="36" y="250"/>
                    <a:pt x="36" y="250"/>
                  </a:cubicBezTo>
                  <a:cubicBezTo>
                    <a:pt x="38" y="253"/>
                    <a:pt x="41" y="257"/>
                    <a:pt x="43" y="261"/>
                  </a:cubicBezTo>
                  <a:lnTo>
                    <a:pt x="38" y="265"/>
                  </a:lnTo>
                  <a:close/>
                  <a:moveTo>
                    <a:pt x="27" y="247"/>
                  </a:moveTo>
                  <a:cubicBezTo>
                    <a:pt x="25" y="243"/>
                    <a:pt x="22" y="238"/>
                    <a:pt x="20" y="234"/>
                  </a:cubicBezTo>
                  <a:cubicBezTo>
                    <a:pt x="26" y="231"/>
                    <a:pt x="26" y="231"/>
                    <a:pt x="26" y="231"/>
                  </a:cubicBezTo>
                  <a:cubicBezTo>
                    <a:pt x="28" y="235"/>
                    <a:pt x="30" y="240"/>
                    <a:pt x="32" y="244"/>
                  </a:cubicBezTo>
                  <a:lnTo>
                    <a:pt x="27" y="247"/>
                  </a:lnTo>
                  <a:close/>
                  <a:moveTo>
                    <a:pt x="17" y="228"/>
                  </a:moveTo>
                  <a:cubicBezTo>
                    <a:pt x="15" y="223"/>
                    <a:pt x="13" y="219"/>
                    <a:pt x="12" y="215"/>
                  </a:cubicBezTo>
                  <a:cubicBezTo>
                    <a:pt x="18" y="212"/>
                    <a:pt x="18" y="212"/>
                    <a:pt x="18" y="212"/>
                  </a:cubicBezTo>
                  <a:cubicBezTo>
                    <a:pt x="19" y="217"/>
                    <a:pt x="21" y="221"/>
                    <a:pt x="23" y="225"/>
                  </a:cubicBezTo>
                  <a:lnTo>
                    <a:pt x="17" y="228"/>
                  </a:lnTo>
                  <a:close/>
                  <a:moveTo>
                    <a:pt x="9" y="208"/>
                  </a:moveTo>
                  <a:cubicBezTo>
                    <a:pt x="8" y="204"/>
                    <a:pt x="7" y="199"/>
                    <a:pt x="5" y="194"/>
                  </a:cubicBezTo>
                  <a:cubicBezTo>
                    <a:pt x="11" y="193"/>
                    <a:pt x="11" y="193"/>
                    <a:pt x="11" y="193"/>
                  </a:cubicBezTo>
                  <a:cubicBezTo>
                    <a:pt x="13" y="197"/>
                    <a:pt x="14" y="202"/>
                    <a:pt x="15" y="206"/>
                  </a:cubicBezTo>
                  <a:lnTo>
                    <a:pt x="9" y="208"/>
                  </a:lnTo>
                  <a:close/>
                  <a:moveTo>
                    <a:pt x="483" y="203"/>
                  </a:moveTo>
                  <a:cubicBezTo>
                    <a:pt x="482" y="199"/>
                    <a:pt x="480" y="194"/>
                    <a:pt x="479" y="190"/>
                  </a:cubicBezTo>
                  <a:cubicBezTo>
                    <a:pt x="485" y="188"/>
                    <a:pt x="485" y="188"/>
                    <a:pt x="485" y="188"/>
                  </a:cubicBezTo>
                  <a:cubicBezTo>
                    <a:pt x="486" y="192"/>
                    <a:pt x="488" y="197"/>
                    <a:pt x="489" y="201"/>
                  </a:cubicBezTo>
                  <a:lnTo>
                    <a:pt x="483" y="203"/>
                  </a:lnTo>
                  <a:close/>
                  <a:moveTo>
                    <a:pt x="4" y="188"/>
                  </a:moveTo>
                  <a:cubicBezTo>
                    <a:pt x="3" y="183"/>
                    <a:pt x="2" y="178"/>
                    <a:pt x="1" y="173"/>
                  </a:cubicBezTo>
                  <a:cubicBezTo>
                    <a:pt x="7" y="173"/>
                    <a:pt x="7" y="173"/>
                    <a:pt x="7" y="173"/>
                  </a:cubicBezTo>
                  <a:cubicBezTo>
                    <a:pt x="8" y="177"/>
                    <a:pt x="9" y="182"/>
                    <a:pt x="10" y="186"/>
                  </a:cubicBezTo>
                  <a:lnTo>
                    <a:pt x="4" y="188"/>
                  </a:lnTo>
                  <a:close/>
                  <a:moveTo>
                    <a:pt x="476" y="184"/>
                  </a:moveTo>
                  <a:cubicBezTo>
                    <a:pt x="474" y="179"/>
                    <a:pt x="472" y="175"/>
                    <a:pt x="470" y="171"/>
                  </a:cubicBezTo>
                  <a:cubicBezTo>
                    <a:pt x="476" y="168"/>
                    <a:pt x="476" y="168"/>
                    <a:pt x="476" y="168"/>
                  </a:cubicBezTo>
                  <a:cubicBezTo>
                    <a:pt x="478" y="172"/>
                    <a:pt x="480" y="177"/>
                    <a:pt x="482" y="181"/>
                  </a:cubicBezTo>
                  <a:lnTo>
                    <a:pt x="476" y="184"/>
                  </a:lnTo>
                  <a:close/>
                  <a:moveTo>
                    <a:pt x="0" y="166"/>
                  </a:moveTo>
                  <a:cubicBezTo>
                    <a:pt x="0" y="162"/>
                    <a:pt x="0" y="157"/>
                    <a:pt x="0" y="152"/>
                  </a:cubicBezTo>
                  <a:cubicBezTo>
                    <a:pt x="6" y="152"/>
                    <a:pt x="6" y="152"/>
                    <a:pt x="6" y="152"/>
                  </a:cubicBezTo>
                  <a:cubicBezTo>
                    <a:pt x="6" y="157"/>
                    <a:pt x="6" y="161"/>
                    <a:pt x="7" y="166"/>
                  </a:cubicBezTo>
                  <a:lnTo>
                    <a:pt x="0" y="166"/>
                  </a:lnTo>
                  <a:close/>
                  <a:moveTo>
                    <a:pt x="467" y="165"/>
                  </a:moveTo>
                  <a:cubicBezTo>
                    <a:pt x="465" y="161"/>
                    <a:pt x="462" y="157"/>
                    <a:pt x="460" y="153"/>
                  </a:cubicBezTo>
                  <a:cubicBezTo>
                    <a:pt x="465" y="150"/>
                    <a:pt x="465" y="150"/>
                    <a:pt x="465" y="150"/>
                  </a:cubicBezTo>
                  <a:cubicBezTo>
                    <a:pt x="468" y="154"/>
                    <a:pt x="470" y="158"/>
                    <a:pt x="473" y="162"/>
                  </a:cubicBezTo>
                  <a:lnTo>
                    <a:pt x="467" y="165"/>
                  </a:lnTo>
                  <a:close/>
                  <a:moveTo>
                    <a:pt x="456" y="147"/>
                  </a:moveTo>
                  <a:cubicBezTo>
                    <a:pt x="454" y="144"/>
                    <a:pt x="451" y="140"/>
                    <a:pt x="448" y="136"/>
                  </a:cubicBezTo>
                  <a:cubicBezTo>
                    <a:pt x="453" y="132"/>
                    <a:pt x="453" y="132"/>
                    <a:pt x="453" y="132"/>
                  </a:cubicBezTo>
                  <a:cubicBezTo>
                    <a:pt x="456" y="136"/>
                    <a:pt x="459" y="140"/>
                    <a:pt x="461" y="144"/>
                  </a:cubicBezTo>
                  <a:lnTo>
                    <a:pt x="456" y="147"/>
                  </a:lnTo>
                  <a:close/>
                  <a:moveTo>
                    <a:pt x="6" y="145"/>
                  </a:moveTo>
                  <a:cubicBezTo>
                    <a:pt x="0" y="145"/>
                    <a:pt x="0" y="145"/>
                    <a:pt x="0" y="145"/>
                  </a:cubicBezTo>
                  <a:cubicBezTo>
                    <a:pt x="0" y="141"/>
                    <a:pt x="0" y="137"/>
                    <a:pt x="0" y="133"/>
                  </a:cubicBezTo>
                  <a:cubicBezTo>
                    <a:pt x="1" y="131"/>
                    <a:pt x="1" y="131"/>
                    <a:pt x="1" y="131"/>
                  </a:cubicBezTo>
                  <a:cubicBezTo>
                    <a:pt x="7" y="132"/>
                    <a:pt x="7" y="132"/>
                    <a:pt x="7" y="132"/>
                  </a:cubicBezTo>
                  <a:cubicBezTo>
                    <a:pt x="7" y="134"/>
                    <a:pt x="7" y="134"/>
                    <a:pt x="7" y="134"/>
                  </a:cubicBezTo>
                  <a:cubicBezTo>
                    <a:pt x="6" y="138"/>
                    <a:pt x="6" y="141"/>
                    <a:pt x="6" y="145"/>
                  </a:cubicBezTo>
                  <a:close/>
                  <a:moveTo>
                    <a:pt x="444" y="131"/>
                  </a:moveTo>
                  <a:cubicBezTo>
                    <a:pt x="441" y="127"/>
                    <a:pt x="438" y="123"/>
                    <a:pt x="435" y="120"/>
                  </a:cubicBezTo>
                  <a:cubicBezTo>
                    <a:pt x="440" y="116"/>
                    <a:pt x="440" y="116"/>
                    <a:pt x="440" y="116"/>
                  </a:cubicBezTo>
                  <a:cubicBezTo>
                    <a:pt x="443" y="119"/>
                    <a:pt x="446" y="123"/>
                    <a:pt x="449" y="127"/>
                  </a:cubicBezTo>
                  <a:lnTo>
                    <a:pt x="444" y="131"/>
                  </a:lnTo>
                  <a:close/>
                  <a:moveTo>
                    <a:pt x="8" y="125"/>
                  </a:moveTo>
                  <a:cubicBezTo>
                    <a:pt x="1" y="124"/>
                    <a:pt x="1" y="124"/>
                    <a:pt x="1" y="124"/>
                  </a:cubicBezTo>
                  <a:cubicBezTo>
                    <a:pt x="2" y="119"/>
                    <a:pt x="3" y="114"/>
                    <a:pt x="4" y="110"/>
                  </a:cubicBezTo>
                  <a:cubicBezTo>
                    <a:pt x="10" y="111"/>
                    <a:pt x="10" y="111"/>
                    <a:pt x="10" y="111"/>
                  </a:cubicBezTo>
                  <a:cubicBezTo>
                    <a:pt x="9" y="116"/>
                    <a:pt x="8" y="120"/>
                    <a:pt x="8" y="125"/>
                  </a:cubicBezTo>
                  <a:close/>
                  <a:moveTo>
                    <a:pt x="431" y="115"/>
                  </a:moveTo>
                  <a:cubicBezTo>
                    <a:pt x="427" y="111"/>
                    <a:pt x="424" y="108"/>
                    <a:pt x="421" y="105"/>
                  </a:cubicBezTo>
                  <a:cubicBezTo>
                    <a:pt x="425" y="100"/>
                    <a:pt x="425" y="100"/>
                    <a:pt x="425" y="100"/>
                  </a:cubicBezTo>
                  <a:cubicBezTo>
                    <a:pt x="429" y="104"/>
                    <a:pt x="432" y="107"/>
                    <a:pt x="435" y="110"/>
                  </a:cubicBezTo>
                  <a:lnTo>
                    <a:pt x="431" y="115"/>
                  </a:lnTo>
                  <a:close/>
                  <a:moveTo>
                    <a:pt x="12" y="105"/>
                  </a:moveTo>
                  <a:cubicBezTo>
                    <a:pt x="6" y="103"/>
                    <a:pt x="6" y="103"/>
                    <a:pt x="6" y="103"/>
                  </a:cubicBezTo>
                  <a:cubicBezTo>
                    <a:pt x="8" y="98"/>
                    <a:pt x="9" y="94"/>
                    <a:pt x="11" y="89"/>
                  </a:cubicBezTo>
                  <a:cubicBezTo>
                    <a:pt x="17" y="92"/>
                    <a:pt x="17" y="92"/>
                    <a:pt x="17" y="92"/>
                  </a:cubicBezTo>
                  <a:cubicBezTo>
                    <a:pt x="15" y="96"/>
                    <a:pt x="14" y="100"/>
                    <a:pt x="12" y="105"/>
                  </a:cubicBezTo>
                  <a:close/>
                  <a:moveTo>
                    <a:pt x="416" y="100"/>
                  </a:moveTo>
                  <a:cubicBezTo>
                    <a:pt x="413" y="97"/>
                    <a:pt x="409" y="94"/>
                    <a:pt x="406" y="90"/>
                  </a:cubicBezTo>
                  <a:cubicBezTo>
                    <a:pt x="410" y="86"/>
                    <a:pt x="410" y="86"/>
                    <a:pt x="410" y="86"/>
                  </a:cubicBezTo>
                  <a:cubicBezTo>
                    <a:pt x="414" y="89"/>
                    <a:pt x="417" y="92"/>
                    <a:pt x="420" y="95"/>
                  </a:cubicBezTo>
                  <a:lnTo>
                    <a:pt x="416" y="100"/>
                  </a:lnTo>
                  <a:close/>
                  <a:moveTo>
                    <a:pt x="401" y="86"/>
                  </a:moveTo>
                  <a:cubicBezTo>
                    <a:pt x="397" y="83"/>
                    <a:pt x="393" y="80"/>
                    <a:pt x="390" y="77"/>
                  </a:cubicBezTo>
                  <a:cubicBezTo>
                    <a:pt x="394" y="72"/>
                    <a:pt x="394" y="72"/>
                    <a:pt x="394" y="72"/>
                  </a:cubicBezTo>
                  <a:cubicBezTo>
                    <a:pt x="397" y="75"/>
                    <a:pt x="401" y="78"/>
                    <a:pt x="405" y="81"/>
                  </a:cubicBezTo>
                  <a:lnTo>
                    <a:pt x="401" y="86"/>
                  </a:lnTo>
                  <a:close/>
                  <a:moveTo>
                    <a:pt x="20" y="86"/>
                  </a:moveTo>
                  <a:cubicBezTo>
                    <a:pt x="14" y="83"/>
                    <a:pt x="14" y="83"/>
                    <a:pt x="14" y="83"/>
                  </a:cubicBezTo>
                  <a:cubicBezTo>
                    <a:pt x="16" y="79"/>
                    <a:pt x="18" y="74"/>
                    <a:pt x="21" y="70"/>
                  </a:cubicBezTo>
                  <a:cubicBezTo>
                    <a:pt x="26" y="74"/>
                    <a:pt x="26" y="74"/>
                    <a:pt x="26" y="74"/>
                  </a:cubicBezTo>
                  <a:cubicBezTo>
                    <a:pt x="24" y="78"/>
                    <a:pt x="22" y="82"/>
                    <a:pt x="20" y="86"/>
                  </a:cubicBezTo>
                  <a:close/>
                  <a:moveTo>
                    <a:pt x="384" y="73"/>
                  </a:moveTo>
                  <a:cubicBezTo>
                    <a:pt x="381" y="70"/>
                    <a:pt x="377" y="68"/>
                    <a:pt x="373" y="65"/>
                  </a:cubicBezTo>
                  <a:cubicBezTo>
                    <a:pt x="376" y="60"/>
                    <a:pt x="376" y="60"/>
                    <a:pt x="376" y="60"/>
                  </a:cubicBezTo>
                  <a:cubicBezTo>
                    <a:pt x="380" y="63"/>
                    <a:pt x="384" y="65"/>
                    <a:pt x="388" y="68"/>
                  </a:cubicBezTo>
                  <a:lnTo>
                    <a:pt x="384" y="73"/>
                  </a:lnTo>
                  <a:close/>
                  <a:moveTo>
                    <a:pt x="30" y="68"/>
                  </a:moveTo>
                  <a:cubicBezTo>
                    <a:pt x="25" y="65"/>
                    <a:pt x="25" y="65"/>
                    <a:pt x="25" y="65"/>
                  </a:cubicBezTo>
                  <a:cubicBezTo>
                    <a:pt x="28" y="61"/>
                    <a:pt x="31" y="57"/>
                    <a:pt x="34" y="53"/>
                  </a:cubicBezTo>
                  <a:cubicBezTo>
                    <a:pt x="39" y="58"/>
                    <a:pt x="39" y="58"/>
                    <a:pt x="39" y="58"/>
                  </a:cubicBezTo>
                  <a:cubicBezTo>
                    <a:pt x="36" y="61"/>
                    <a:pt x="33" y="65"/>
                    <a:pt x="30" y="68"/>
                  </a:cubicBezTo>
                  <a:close/>
                  <a:moveTo>
                    <a:pt x="367" y="61"/>
                  </a:moveTo>
                  <a:cubicBezTo>
                    <a:pt x="363" y="59"/>
                    <a:pt x="359" y="56"/>
                    <a:pt x="355" y="54"/>
                  </a:cubicBezTo>
                  <a:cubicBezTo>
                    <a:pt x="358" y="49"/>
                    <a:pt x="358" y="49"/>
                    <a:pt x="358" y="49"/>
                  </a:cubicBezTo>
                  <a:cubicBezTo>
                    <a:pt x="363" y="51"/>
                    <a:pt x="367" y="53"/>
                    <a:pt x="370" y="56"/>
                  </a:cubicBezTo>
                  <a:lnTo>
                    <a:pt x="367" y="61"/>
                  </a:lnTo>
                  <a:close/>
                  <a:moveTo>
                    <a:pt x="44" y="53"/>
                  </a:moveTo>
                  <a:cubicBezTo>
                    <a:pt x="39" y="48"/>
                    <a:pt x="39" y="48"/>
                    <a:pt x="39" y="48"/>
                  </a:cubicBezTo>
                  <a:cubicBezTo>
                    <a:pt x="42" y="45"/>
                    <a:pt x="46" y="42"/>
                    <a:pt x="50" y="39"/>
                  </a:cubicBezTo>
                  <a:cubicBezTo>
                    <a:pt x="54" y="44"/>
                    <a:pt x="54" y="44"/>
                    <a:pt x="54" y="44"/>
                  </a:cubicBezTo>
                  <a:cubicBezTo>
                    <a:pt x="50" y="46"/>
                    <a:pt x="47" y="50"/>
                    <a:pt x="44" y="53"/>
                  </a:cubicBezTo>
                  <a:close/>
                  <a:moveTo>
                    <a:pt x="349" y="51"/>
                  </a:moveTo>
                  <a:cubicBezTo>
                    <a:pt x="345" y="48"/>
                    <a:pt x="341" y="46"/>
                    <a:pt x="337" y="44"/>
                  </a:cubicBezTo>
                  <a:cubicBezTo>
                    <a:pt x="340" y="38"/>
                    <a:pt x="340" y="38"/>
                    <a:pt x="340" y="38"/>
                  </a:cubicBezTo>
                  <a:cubicBezTo>
                    <a:pt x="344" y="41"/>
                    <a:pt x="348" y="43"/>
                    <a:pt x="352" y="45"/>
                  </a:cubicBezTo>
                  <a:lnTo>
                    <a:pt x="349" y="51"/>
                  </a:lnTo>
                  <a:close/>
                  <a:moveTo>
                    <a:pt x="331" y="41"/>
                  </a:moveTo>
                  <a:cubicBezTo>
                    <a:pt x="327" y="39"/>
                    <a:pt x="322" y="37"/>
                    <a:pt x="318" y="35"/>
                  </a:cubicBezTo>
                  <a:cubicBezTo>
                    <a:pt x="321" y="29"/>
                    <a:pt x="321" y="29"/>
                    <a:pt x="321" y="29"/>
                  </a:cubicBezTo>
                  <a:cubicBezTo>
                    <a:pt x="325" y="31"/>
                    <a:pt x="329" y="33"/>
                    <a:pt x="334" y="35"/>
                  </a:cubicBezTo>
                  <a:lnTo>
                    <a:pt x="331" y="41"/>
                  </a:lnTo>
                  <a:close/>
                  <a:moveTo>
                    <a:pt x="59" y="39"/>
                  </a:moveTo>
                  <a:cubicBezTo>
                    <a:pt x="55" y="34"/>
                    <a:pt x="55" y="34"/>
                    <a:pt x="55" y="34"/>
                  </a:cubicBezTo>
                  <a:cubicBezTo>
                    <a:pt x="59" y="32"/>
                    <a:pt x="63" y="29"/>
                    <a:pt x="67" y="26"/>
                  </a:cubicBezTo>
                  <a:cubicBezTo>
                    <a:pt x="71" y="32"/>
                    <a:pt x="71" y="32"/>
                    <a:pt x="71" y="32"/>
                  </a:cubicBezTo>
                  <a:cubicBezTo>
                    <a:pt x="67" y="34"/>
                    <a:pt x="63" y="37"/>
                    <a:pt x="59" y="39"/>
                  </a:cubicBezTo>
                  <a:close/>
                  <a:moveTo>
                    <a:pt x="312" y="32"/>
                  </a:moveTo>
                  <a:cubicBezTo>
                    <a:pt x="308" y="31"/>
                    <a:pt x="303" y="29"/>
                    <a:pt x="299" y="27"/>
                  </a:cubicBezTo>
                  <a:cubicBezTo>
                    <a:pt x="301" y="21"/>
                    <a:pt x="301" y="21"/>
                    <a:pt x="301" y="21"/>
                  </a:cubicBezTo>
                  <a:cubicBezTo>
                    <a:pt x="305" y="23"/>
                    <a:pt x="310" y="25"/>
                    <a:pt x="314" y="27"/>
                  </a:cubicBezTo>
                  <a:lnTo>
                    <a:pt x="312" y="32"/>
                  </a:lnTo>
                  <a:close/>
                  <a:moveTo>
                    <a:pt x="77" y="28"/>
                  </a:moveTo>
                  <a:cubicBezTo>
                    <a:pt x="74" y="23"/>
                    <a:pt x="74" y="23"/>
                    <a:pt x="74" y="23"/>
                  </a:cubicBezTo>
                  <a:cubicBezTo>
                    <a:pt x="78" y="21"/>
                    <a:pt x="82" y="19"/>
                    <a:pt x="86" y="17"/>
                  </a:cubicBezTo>
                  <a:cubicBezTo>
                    <a:pt x="89" y="22"/>
                    <a:pt x="89" y="22"/>
                    <a:pt x="89" y="22"/>
                  </a:cubicBezTo>
                  <a:cubicBezTo>
                    <a:pt x="85" y="24"/>
                    <a:pt x="80" y="26"/>
                    <a:pt x="77" y="28"/>
                  </a:cubicBezTo>
                  <a:close/>
                  <a:moveTo>
                    <a:pt x="292" y="25"/>
                  </a:moveTo>
                  <a:cubicBezTo>
                    <a:pt x="288" y="24"/>
                    <a:pt x="284" y="22"/>
                    <a:pt x="279" y="21"/>
                  </a:cubicBezTo>
                  <a:cubicBezTo>
                    <a:pt x="281" y="15"/>
                    <a:pt x="281" y="15"/>
                    <a:pt x="281" y="15"/>
                  </a:cubicBezTo>
                  <a:cubicBezTo>
                    <a:pt x="285" y="16"/>
                    <a:pt x="290" y="18"/>
                    <a:pt x="294" y="19"/>
                  </a:cubicBezTo>
                  <a:lnTo>
                    <a:pt x="292" y="25"/>
                  </a:lnTo>
                  <a:close/>
                  <a:moveTo>
                    <a:pt x="95" y="20"/>
                  </a:moveTo>
                  <a:cubicBezTo>
                    <a:pt x="93" y="14"/>
                    <a:pt x="93" y="14"/>
                    <a:pt x="93" y="14"/>
                  </a:cubicBezTo>
                  <a:cubicBezTo>
                    <a:pt x="97" y="12"/>
                    <a:pt x="102" y="11"/>
                    <a:pt x="106" y="9"/>
                  </a:cubicBezTo>
                  <a:cubicBezTo>
                    <a:pt x="108" y="15"/>
                    <a:pt x="108" y="15"/>
                    <a:pt x="108" y="15"/>
                  </a:cubicBezTo>
                  <a:cubicBezTo>
                    <a:pt x="104" y="17"/>
                    <a:pt x="99" y="18"/>
                    <a:pt x="95" y="20"/>
                  </a:cubicBezTo>
                  <a:close/>
                  <a:moveTo>
                    <a:pt x="272" y="19"/>
                  </a:moveTo>
                  <a:cubicBezTo>
                    <a:pt x="268" y="18"/>
                    <a:pt x="263" y="17"/>
                    <a:pt x="259" y="16"/>
                  </a:cubicBezTo>
                  <a:cubicBezTo>
                    <a:pt x="260" y="9"/>
                    <a:pt x="260" y="9"/>
                    <a:pt x="260" y="9"/>
                  </a:cubicBezTo>
                  <a:cubicBezTo>
                    <a:pt x="265" y="10"/>
                    <a:pt x="270" y="12"/>
                    <a:pt x="274" y="13"/>
                  </a:cubicBezTo>
                  <a:lnTo>
                    <a:pt x="272" y="19"/>
                  </a:lnTo>
                  <a:close/>
                  <a:moveTo>
                    <a:pt x="252" y="14"/>
                  </a:moveTo>
                  <a:cubicBezTo>
                    <a:pt x="248" y="13"/>
                    <a:pt x="243" y="12"/>
                    <a:pt x="239" y="11"/>
                  </a:cubicBezTo>
                  <a:cubicBezTo>
                    <a:pt x="240" y="5"/>
                    <a:pt x="240" y="5"/>
                    <a:pt x="240" y="5"/>
                  </a:cubicBezTo>
                  <a:cubicBezTo>
                    <a:pt x="244" y="6"/>
                    <a:pt x="249" y="7"/>
                    <a:pt x="254" y="8"/>
                  </a:cubicBezTo>
                  <a:lnTo>
                    <a:pt x="252" y="14"/>
                  </a:lnTo>
                  <a:close/>
                  <a:moveTo>
                    <a:pt x="115" y="13"/>
                  </a:moveTo>
                  <a:cubicBezTo>
                    <a:pt x="113" y="7"/>
                    <a:pt x="113" y="7"/>
                    <a:pt x="113" y="7"/>
                  </a:cubicBezTo>
                  <a:cubicBezTo>
                    <a:pt x="118" y="6"/>
                    <a:pt x="122" y="5"/>
                    <a:pt x="127" y="4"/>
                  </a:cubicBezTo>
                  <a:cubicBezTo>
                    <a:pt x="128" y="10"/>
                    <a:pt x="128" y="10"/>
                    <a:pt x="128" y="10"/>
                  </a:cubicBezTo>
                  <a:cubicBezTo>
                    <a:pt x="124" y="11"/>
                    <a:pt x="119" y="12"/>
                    <a:pt x="115" y="13"/>
                  </a:cubicBezTo>
                  <a:close/>
                  <a:moveTo>
                    <a:pt x="232" y="10"/>
                  </a:moveTo>
                  <a:cubicBezTo>
                    <a:pt x="227" y="10"/>
                    <a:pt x="223" y="9"/>
                    <a:pt x="218" y="9"/>
                  </a:cubicBezTo>
                  <a:cubicBezTo>
                    <a:pt x="219" y="2"/>
                    <a:pt x="219" y="2"/>
                    <a:pt x="219" y="2"/>
                  </a:cubicBezTo>
                  <a:cubicBezTo>
                    <a:pt x="223" y="3"/>
                    <a:pt x="228" y="3"/>
                    <a:pt x="233" y="4"/>
                  </a:cubicBezTo>
                  <a:lnTo>
                    <a:pt x="232" y="10"/>
                  </a:lnTo>
                  <a:close/>
                  <a:moveTo>
                    <a:pt x="135" y="9"/>
                  </a:moveTo>
                  <a:cubicBezTo>
                    <a:pt x="134" y="3"/>
                    <a:pt x="134" y="3"/>
                    <a:pt x="134" y="3"/>
                  </a:cubicBezTo>
                  <a:cubicBezTo>
                    <a:pt x="138" y="2"/>
                    <a:pt x="142" y="2"/>
                    <a:pt x="146" y="1"/>
                  </a:cubicBezTo>
                  <a:cubicBezTo>
                    <a:pt x="148" y="1"/>
                    <a:pt x="148" y="1"/>
                    <a:pt x="148" y="1"/>
                  </a:cubicBezTo>
                  <a:cubicBezTo>
                    <a:pt x="149" y="8"/>
                    <a:pt x="149" y="8"/>
                    <a:pt x="149" y="8"/>
                  </a:cubicBezTo>
                  <a:cubicBezTo>
                    <a:pt x="146" y="8"/>
                    <a:pt x="146" y="8"/>
                    <a:pt x="146" y="8"/>
                  </a:cubicBezTo>
                  <a:cubicBezTo>
                    <a:pt x="143" y="8"/>
                    <a:pt x="139" y="9"/>
                    <a:pt x="135" y="9"/>
                  </a:cubicBezTo>
                  <a:close/>
                  <a:moveTo>
                    <a:pt x="211" y="8"/>
                  </a:moveTo>
                  <a:cubicBezTo>
                    <a:pt x="207" y="7"/>
                    <a:pt x="202" y="7"/>
                    <a:pt x="197" y="7"/>
                  </a:cubicBezTo>
                  <a:cubicBezTo>
                    <a:pt x="198" y="1"/>
                    <a:pt x="198" y="1"/>
                    <a:pt x="198" y="1"/>
                  </a:cubicBezTo>
                  <a:cubicBezTo>
                    <a:pt x="202" y="1"/>
                    <a:pt x="207" y="1"/>
                    <a:pt x="212" y="2"/>
                  </a:cubicBezTo>
                  <a:lnTo>
                    <a:pt x="211" y="8"/>
                  </a:lnTo>
                  <a:close/>
                  <a:moveTo>
                    <a:pt x="156" y="7"/>
                  </a:moveTo>
                  <a:cubicBezTo>
                    <a:pt x="155" y="1"/>
                    <a:pt x="155" y="1"/>
                    <a:pt x="155" y="1"/>
                  </a:cubicBezTo>
                  <a:cubicBezTo>
                    <a:pt x="160" y="0"/>
                    <a:pt x="165" y="0"/>
                    <a:pt x="169" y="0"/>
                  </a:cubicBezTo>
                  <a:cubicBezTo>
                    <a:pt x="170" y="6"/>
                    <a:pt x="170" y="6"/>
                    <a:pt x="170" y="6"/>
                  </a:cubicBezTo>
                  <a:cubicBezTo>
                    <a:pt x="165" y="7"/>
                    <a:pt x="160" y="7"/>
                    <a:pt x="156" y="7"/>
                  </a:cubicBezTo>
                  <a:close/>
                  <a:moveTo>
                    <a:pt x="190" y="7"/>
                  </a:moveTo>
                  <a:cubicBezTo>
                    <a:pt x="186" y="6"/>
                    <a:pt x="183" y="6"/>
                    <a:pt x="179" y="6"/>
                  </a:cubicBezTo>
                  <a:cubicBezTo>
                    <a:pt x="176" y="6"/>
                    <a:pt x="176" y="6"/>
                    <a:pt x="176" y="6"/>
                  </a:cubicBezTo>
                  <a:cubicBezTo>
                    <a:pt x="176" y="0"/>
                    <a:pt x="176" y="0"/>
                    <a:pt x="176" y="0"/>
                  </a:cubicBezTo>
                  <a:cubicBezTo>
                    <a:pt x="179" y="0"/>
                    <a:pt x="179" y="0"/>
                    <a:pt x="179" y="0"/>
                  </a:cubicBezTo>
                  <a:cubicBezTo>
                    <a:pt x="183" y="0"/>
                    <a:pt x="187" y="0"/>
                    <a:pt x="191" y="0"/>
                  </a:cubicBezTo>
                  <a:lnTo>
                    <a:pt x="1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10" name="bIg Eye"/>
          <p:cNvGrpSpPr/>
          <p:nvPr userDrawn="1"/>
        </p:nvGrpSpPr>
        <p:grpSpPr bwMode="black">
          <a:xfrm>
            <a:off x="7279864" y="4670214"/>
            <a:ext cx="794070" cy="469104"/>
            <a:chOff x="2665413" y="2318584"/>
            <a:chExt cx="962025" cy="568325"/>
          </a:xfrm>
          <a:solidFill>
            <a:schemeClr val="tx2"/>
          </a:solidFill>
        </p:grpSpPr>
        <p:sp>
          <p:nvSpPr>
            <p:cNvPr id="11" name="Freeform 8"/>
            <p:cNvSpPr>
              <a:spLocks noEditPoints="1"/>
            </p:cNvSpPr>
            <p:nvPr userDrawn="1"/>
          </p:nvSpPr>
          <p:spPr bwMode="black">
            <a:xfrm>
              <a:off x="3051176" y="2504321"/>
              <a:ext cx="190500" cy="188913"/>
            </a:xfrm>
            <a:custGeom>
              <a:avLst/>
              <a:gdLst>
                <a:gd name="T0" fmla="*/ 45 w 70"/>
                <a:gd name="T1" fmla="*/ 5 h 69"/>
                <a:gd name="T2" fmla="*/ 6 w 70"/>
                <a:gd name="T3" fmla="*/ 24 h 69"/>
                <a:gd name="T4" fmla="*/ 25 w 70"/>
                <a:gd name="T5" fmla="*/ 64 h 69"/>
                <a:gd name="T6" fmla="*/ 64 w 70"/>
                <a:gd name="T7" fmla="*/ 45 h 69"/>
                <a:gd name="T8" fmla="*/ 45 w 70"/>
                <a:gd name="T9" fmla="*/ 5 h 69"/>
                <a:gd name="T10" fmla="*/ 28 w 70"/>
                <a:gd name="T11" fmla="*/ 53 h 69"/>
                <a:gd name="T12" fmla="*/ 16 w 70"/>
                <a:gd name="T13" fmla="*/ 28 h 69"/>
                <a:gd name="T14" fmla="*/ 41 w 70"/>
                <a:gd name="T15" fmla="*/ 16 h 69"/>
                <a:gd name="T16" fmla="*/ 54 w 70"/>
                <a:gd name="T17" fmla="*/ 41 h 69"/>
                <a:gd name="T18" fmla="*/ 28 w 70"/>
                <a:gd name="T19"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69">
                  <a:moveTo>
                    <a:pt x="45" y="5"/>
                  </a:moveTo>
                  <a:cubicBezTo>
                    <a:pt x="29" y="0"/>
                    <a:pt x="11" y="8"/>
                    <a:pt x="6" y="24"/>
                  </a:cubicBezTo>
                  <a:cubicBezTo>
                    <a:pt x="0" y="41"/>
                    <a:pt x="9" y="58"/>
                    <a:pt x="25" y="64"/>
                  </a:cubicBezTo>
                  <a:cubicBezTo>
                    <a:pt x="41" y="69"/>
                    <a:pt x="59" y="61"/>
                    <a:pt x="64" y="45"/>
                  </a:cubicBezTo>
                  <a:cubicBezTo>
                    <a:pt x="70" y="28"/>
                    <a:pt x="61" y="11"/>
                    <a:pt x="45" y="5"/>
                  </a:cubicBezTo>
                  <a:moveTo>
                    <a:pt x="28" y="53"/>
                  </a:moveTo>
                  <a:cubicBezTo>
                    <a:pt x="18" y="50"/>
                    <a:pt x="12" y="38"/>
                    <a:pt x="16" y="28"/>
                  </a:cubicBezTo>
                  <a:cubicBezTo>
                    <a:pt x="20" y="18"/>
                    <a:pt x="31" y="12"/>
                    <a:pt x="41" y="16"/>
                  </a:cubicBezTo>
                  <a:cubicBezTo>
                    <a:pt x="52" y="19"/>
                    <a:pt x="57" y="31"/>
                    <a:pt x="54" y="41"/>
                  </a:cubicBezTo>
                  <a:cubicBezTo>
                    <a:pt x="50" y="51"/>
                    <a:pt x="39" y="57"/>
                    <a:pt x="28"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12" name="Freeform 9"/>
            <p:cNvSpPr>
              <a:spLocks noEditPoints="1"/>
            </p:cNvSpPr>
            <p:nvPr userDrawn="1"/>
          </p:nvSpPr>
          <p:spPr bwMode="black">
            <a:xfrm>
              <a:off x="2665413" y="2318584"/>
              <a:ext cx="962025" cy="568325"/>
            </a:xfrm>
            <a:custGeom>
              <a:avLst/>
              <a:gdLst>
                <a:gd name="T0" fmla="*/ 199 w 352"/>
                <a:gd name="T1" fmla="*/ 31 h 208"/>
                <a:gd name="T2" fmla="*/ 0 w 352"/>
                <a:gd name="T3" fmla="*/ 42 h 208"/>
                <a:gd name="T4" fmla="*/ 155 w 352"/>
                <a:gd name="T5" fmla="*/ 174 h 208"/>
                <a:gd name="T6" fmla="*/ 352 w 352"/>
                <a:gd name="T7" fmla="*/ 163 h 208"/>
                <a:gd name="T8" fmla="*/ 199 w 352"/>
                <a:gd name="T9" fmla="*/ 31 h 208"/>
                <a:gd name="T10" fmla="*/ 157 w 352"/>
                <a:gd name="T11" fmla="*/ 156 h 208"/>
                <a:gd name="T12" fmla="*/ 122 w 352"/>
                <a:gd name="T13" fmla="*/ 84 h 208"/>
                <a:gd name="T14" fmla="*/ 195 w 352"/>
                <a:gd name="T15" fmla="*/ 49 h 208"/>
                <a:gd name="T16" fmla="*/ 230 w 352"/>
                <a:gd name="T17" fmla="*/ 121 h 208"/>
                <a:gd name="T18" fmla="*/ 157 w 352"/>
                <a:gd name="T19" fmla="*/ 15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2" h="208">
                  <a:moveTo>
                    <a:pt x="199" y="31"/>
                  </a:moveTo>
                  <a:cubicBezTo>
                    <a:pt x="107" y="0"/>
                    <a:pt x="0" y="42"/>
                    <a:pt x="0" y="42"/>
                  </a:cubicBezTo>
                  <a:cubicBezTo>
                    <a:pt x="0" y="42"/>
                    <a:pt x="55" y="140"/>
                    <a:pt x="155" y="174"/>
                  </a:cubicBezTo>
                  <a:cubicBezTo>
                    <a:pt x="254" y="208"/>
                    <a:pt x="352" y="163"/>
                    <a:pt x="352" y="163"/>
                  </a:cubicBezTo>
                  <a:cubicBezTo>
                    <a:pt x="352" y="163"/>
                    <a:pt x="290" y="63"/>
                    <a:pt x="199" y="31"/>
                  </a:cubicBezTo>
                  <a:moveTo>
                    <a:pt x="157" y="156"/>
                  </a:moveTo>
                  <a:cubicBezTo>
                    <a:pt x="128" y="146"/>
                    <a:pt x="112" y="114"/>
                    <a:pt x="122" y="84"/>
                  </a:cubicBezTo>
                  <a:cubicBezTo>
                    <a:pt x="132" y="54"/>
                    <a:pt x="165" y="39"/>
                    <a:pt x="195" y="49"/>
                  </a:cubicBezTo>
                  <a:cubicBezTo>
                    <a:pt x="224" y="59"/>
                    <a:pt x="240" y="91"/>
                    <a:pt x="230" y="121"/>
                  </a:cubicBezTo>
                  <a:cubicBezTo>
                    <a:pt x="219" y="151"/>
                    <a:pt x="187" y="166"/>
                    <a:pt x="157" y="15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sp>
        <p:nvSpPr>
          <p:cNvPr id="13" name="Line to bugle"/>
          <p:cNvSpPr>
            <a:spLocks noChangeArrowheads="1"/>
          </p:cNvSpPr>
          <p:nvPr userDrawn="1"/>
        </p:nvSpPr>
        <p:spPr bwMode="black">
          <a:xfrm>
            <a:off x="6877589" y="5806286"/>
            <a:ext cx="19656" cy="5254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solidFill>
                <a:prstClr val="black"/>
              </a:solidFill>
            </a:endParaRPr>
          </a:p>
        </p:txBody>
      </p:sp>
      <p:sp>
        <p:nvSpPr>
          <p:cNvPr id="14" name="Bugle"/>
          <p:cNvSpPr>
            <a:spLocks/>
          </p:cNvSpPr>
          <p:nvPr userDrawn="1"/>
        </p:nvSpPr>
        <p:spPr bwMode="black">
          <a:xfrm>
            <a:off x="6612899" y="6260976"/>
            <a:ext cx="490069" cy="252897"/>
          </a:xfrm>
          <a:custGeom>
            <a:avLst/>
            <a:gdLst>
              <a:gd name="T0" fmla="*/ 374 w 374"/>
              <a:gd name="T1" fmla="*/ 97 h 193"/>
              <a:gd name="T2" fmla="*/ 348 w 374"/>
              <a:gd name="T3" fmla="*/ 76 h 193"/>
              <a:gd name="T4" fmla="*/ 348 w 374"/>
              <a:gd name="T5" fmla="*/ 93 h 193"/>
              <a:gd name="T6" fmla="*/ 269 w 374"/>
              <a:gd name="T7" fmla="*/ 93 h 193"/>
              <a:gd name="T8" fmla="*/ 200 w 374"/>
              <a:gd name="T9" fmla="*/ 42 h 193"/>
              <a:gd name="T10" fmla="*/ 200 w 374"/>
              <a:gd name="T11" fmla="*/ 93 h 193"/>
              <a:gd name="T12" fmla="*/ 124 w 374"/>
              <a:gd name="T13" fmla="*/ 93 h 193"/>
              <a:gd name="T14" fmla="*/ 0 w 374"/>
              <a:gd name="T15" fmla="*/ 0 h 193"/>
              <a:gd name="T16" fmla="*/ 0 w 374"/>
              <a:gd name="T17" fmla="*/ 193 h 193"/>
              <a:gd name="T18" fmla="*/ 124 w 374"/>
              <a:gd name="T19" fmla="*/ 100 h 193"/>
              <a:gd name="T20" fmla="*/ 200 w 374"/>
              <a:gd name="T21" fmla="*/ 100 h 193"/>
              <a:gd name="T22" fmla="*/ 200 w 374"/>
              <a:gd name="T23" fmla="*/ 152 h 193"/>
              <a:gd name="T24" fmla="*/ 269 w 374"/>
              <a:gd name="T25" fmla="*/ 100 h 193"/>
              <a:gd name="T26" fmla="*/ 348 w 374"/>
              <a:gd name="T27" fmla="*/ 100 h 193"/>
              <a:gd name="T28" fmla="*/ 348 w 374"/>
              <a:gd name="T29" fmla="*/ 116 h 193"/>
              <a:gd name="T30" fmla="*/ 374 w 374"/>
              <a:gd name="T31" fmla="*/ 9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4" h="193">
                <a:moveTo>
                  <a:pt x="374" y="97"/>
                </a:moveTo>
                <a:lnTo>
                  <a:pt x="348" y="76"/>
                </a:lnTo>
                <a:lnTo>
                  <a:pt x="348" y="93"/>
                </a:lnTo>
                <a:lnTo>
                  <a:pt x="269" y="93"/>
                </a:lnTo>
                <a:lnTo>
                  <a:pt x="200" y="42"/>
                </a:lnTo>
                <a:lnTo>
                  <a:pt x="200" y="93"/>
                </a:lnTo>
                <a:lnTo>
                  <a:pt x="124" y="93"/>
                </a:lnTo>
                <a:lnTo>
                  <a:pt x="0" y="0"/>
                </a:lnTo>
                <a:lnTo>
                  <a:pt x="0" y="193"/>
                </a:lnTo>
                <a:lnTo>
                  <a:pt x="124" y="100"/>
                </a:lnTo>
                <a:lnTo>
                  <a:pt x="200" y="100"/>
                </a:lnTo>
                <a:lnTo>
                  <a:pt x="200" y="152"/>
                </a:lnTo>
                <a:lnTo>
                  <a:pt x="269" y="100"/>
                </a:lnTo>
                <a:lnTo>
                  <a:pt x="348" y="100"/>
                </a:lnTo>
                <a:lnTo>
                  <a:pt x="348" y="116"/>
                </a:lnTo>
                <a:lnTo>
                  <a:pt x="374" y="97"/>
                </a:lnTo>
                <a:close/>
              </a:path>
            </a:pathLst>
          </a:custGeom>
          <a:solidFill>
            <a:srgbClr val="FCB5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solidFill>
                <a:prstClr val="black"/>
              </a:solidFill>
            </a:endParaRPr>
          </a:p>
        </p:txBody>
      </p:sp>
      <p:grpSp>
        <p:nvGrpSpPr>
          <p:cNvPr id="15" name="Arrow round wheel 2"/>
          <p:cNvGrpSpPr/>
          <p:nvPr userDrawn="1"/>
        </p:nvGrpSpPr>
        <p:grpSpPr bwMode="black">
          <a:xfrm>
            <a:off x="6076967" y="5405320"/>
            <a:ext cx="811105" cy="564759"/>
            <a:chOff x="1208088" y="3209171"/>
            <a:chExt cx="982663" cy="684213"/>
          </a:xfrm>
        </p:grpSpPr>
        <p:sp>
          <p:nvSpPr>
            <p:cNvPr id="16" name="Freeform 12"/>
            <p:cNvSpPr>
              <a:spLocks noEditPoints="1"/>
            </p:cNvSpPr>
            <p:nvPr userDrawn="1"/>
          </p:nvSpPr>
          <p:spPr bwMode="black">
            <a:xfrm>
              <a:off x="1208088" y="3220284"/>
              <a:ext cx="120650" cy="114300"/>
            </a:xfrm>
            <a:custGeom>
              <a:avLst/>
              <a:gdLst>
                <a:gd name="T0" fmla="*/ 76 w 76"/>
                <a:gd name="T1" fmla="*/ 72 h 72"/>
                <a:gd name="T2" fmla="*/ 0 w 76"/>
                <a:gd name="T3" fmla="*/ 58 h 72"/>
                <a:gd name="T4" fmla="*/ 48 w 76"/>
                <a:gd name="T5" fmla="*/ 0 h 72"/>
                <a:gd name="T6" fmla="*/ 76 w 76"/>
                <a:gd name="T7" fmla="*/ 72 h 72"/>
                <a:gd name="T8" fmla="*/ 17 w 76"/>
                <a:gd name="T9" fmla="*/ 51 h 72"/>
                <a:gd name="T10" fmla="*/ 62 w 76"/>
                <a:gd name="T11" fmla="*/ 60 h 72"/>
                <a:gd name="T12" fmla="*/ 46 w 76"/>
                <a:gd name="T13" fmla="*/ 19 h 72"/>
                <a:gd name="T14" fmla="*/ 17 w 76"/>
                <a:gd name="T15" fmla="*/ 51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72">
                  <a:moveTo>
                    <a:pt x="76" y="72"/>
                  </a:moveTo>
                  <a:lnTo>
                    <a:pt x="0" y="58"/>
                  </a:lnTo>
                  <a:lnTo>
                    <a:pt x="48" y="0"/>
                  </a:lnTo>
                  <a:lnTo>
                    <a:pt x="76" y="72"/>
                  </a:lnTo>
                  <a:close/>
                  <a:moveTo>
                    <a:pt x="17" y="51"/>
                  </a:moveTo>
                  <a:lnTo>
                    <a:pt x="62" y="60"/>
                  </a:lnTo>
                  <a:lnTo>
                    <a:pt x="46" y="19"/>
                  </a:lnTo>
                  <a:lnTo>
                    <a:pt x="17"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17" name="Freeform 13"/>
            <p:cNvSpPr>
              <a:spLocks noEditPoints="1"/>
            </p:cNvSpPr>
            <p:nvPr userDrawn="1"/>
          </p:nvSpPr>
          <p:spPr bwMode="black">
            <a:xfrm>
              <a:off x="1249363" y="3209171"/>
              <a:ext cx="941388" cy="684213"/>
            </a:xfrm>
            <a:custGeom>
              <a:avLst/>
              <a:gdLst>
                <a:gd name="T0" fmla="*/ 170 w 345"/>
                <a:gd name="T1" fmla="*/ 245 h 251"/>
                <a:gd name="T2" fmla="*/ 173 w 345"/>
                <a:gd name="T3" fmla="*/ 251 h 251"/>
                <a:gd name="T4" fmla="*/ 149 w 345"/>
                <a:gd name="T5" fmla="*/ 243 h 251"/>
                <a:gd name="T6" fmla="*/ 191 w 345"/>
                <a:gd name="T7" fmla="*/ 251 h 251"/>
                <a:gd name="T8" fmla="*/ 205 w 345"/>
                <a:gd name="T9" fmla="*/ 248 h 251"/>
                <a:gd name="T10" fmla="*/ 127 w 345"/>
                <a:gd name="T11" fmla="*/ 245 h 251"/>
                <a:gd name="T12" fmla="*/ 141 w 345"/>
                <a:gd name="T13" fmla="*/ 249 h 251"/>
                <a:gd name="T14" fmla="*/ 224 w 345"/>
                <a:gd name="T15" fmla="*/ 237 h 251"/>
                <a:gd name="T16" fmla="*/ 121 w 345"/>
                <a:gd name="T17" fmla="*/ 243 h 251"/>
                <a:gd name="T18" fmla="*/ 123 w 345"/>
                <a:gd name="T19" fmla="*/ 237 h 251"/>
                <a:gd name="T20" fmla="*/ 230 w 345"/>
                <a:gd name="T21" fmla="*/ 235 h 251"/>
                <a:gd name="T22" fmla="*/ 233 w 345"/>
                <a:gd name="T23" fmla="*/ 241 h 251"/>
                <a:gd name="T24" fmla="*/ 91 w 345"/>
                <a:gd name="T25" fmla="*/ 224 h 251"/>
                <a:gd name="T26" fmla="*/ 252 w 345"/>
                <a:gd name="T27" fmla="*/ 232 h 251"/>
                <a:gd name="T28" fmla="*/ 265 w 345"/>
                <a:gd name="T29" fmla="*/ 225 h 251"/>
                <a:gd name="T30" fmla="*/ 81 w 345"/>
                <a:gd name="T31" fmla="*/ 225 h 251"/>
                <a:gd name="T32" fmla="*/ 85 w 345"/>
                <a:gd name="T33" fmla="*/ 220 h 251"/>
                <a:gd name="T34" fmla="*/ 271 w 345"/>
                <a:gd name="T35" fmla="*/ 222 h 251"/>
                <a:gd name="T36" fmla="*/ 282 w 345"/>
                <a:gd name="T37" fmla="*/ 213 h 251"/>
                <a:gd name="T38" fmla="*/ 54 w 345"/>
                <a:gd name="T39" fmla="*/ 204 h 251"/>
                <a:gd name="T40" fmla="*/ 64 w 345"/>
                <a:gd name="T41" fmla="*/ 213 h 251"/>
                <a:gd name="T42" fmla="*/ 293 w 345"/>
                <a:gd name="T43" fmla="*/ 194 h 251"/>
                <a:gd name="T44" fmla="*/ 49 w 345"/>
                <a:gd name="T45" fmla="*/ 199 h 251"/>
                <a:gd name="T46" fmla="*/ 53 w 345"/>
                <a:gd name="T47" fmla="*/ 194 h 251"/>
                <a:gd name="T48" fmla="*/ 298 w 345"/>
                <a:gd name="T49" fmla="*/ 189 h 251"/>
                <a:gd name="T50" fmla="*/ 303 w 345"/>
                <a:gd name="T51" fmla="*/ 193 h 251"/>
                <a:gd name="T52" fmla="*/ 32 w 345"/>
                <a:gd name="T53" fmla="*/ 167 h 251"/>
                <a:gd name="T54" fmla="*/ 316 w 345"/>
                <a:gd name="T55" fmla="*/ 177 h 251"/>
                <a:gd name="T56" fmla="*/ 318 w 345"/>
                <a:gd name="T57" fmla="*/ 161 h 251"/>
                <a:gd name="T58" fmla="*/ 316 w 345"/>
                <a:gd name="T59" fmla="*/ 177 h 251"/>
                <a:gd name="T60" fmla="*/ 22 w 345"/>
                <a:gd name="T61" fmla="*/ 149 h 251"/>
                <a:gd name="T62" fmla="*/ 327 w 345"/>
                <a:gd name="T63" fmla="*/ 158 h 251"/>
                <a:gd name="T64" fmla="*/ 333 w 345"/>
                <a:gd name="T65" fmla="*/ 145 h 251"/>
                <a:gd name="T66" fmla="*/ 8 w 345"/>
                <a:gd name="T67" fmla="*/ 132 h 251"/>
                <a:gd name="T68" fmla="*/ 13 w 345"/>
                <a:gd name="T69" fmla="*/ 146 h 251"/>
                <a:gd name="T70" fmla="*/ 333 w 345"/>
                <a:gd name="T71" fmla="*/ 123 h 251"/>
                <a:gd name="T72" fmla="*/ 6 w 345"/>
                <a:gd name="T73" fmla="*/ 125 h 251"/>
                <a:gd name="T74" fmla="*/ 12 w 345"/>
                <a:gd name="T75" fmla="*/ 124 h 251"/>
                <a:gd name="T76" fmla="*/ 335 w 345"/>
                <a:gd name="T77" fmla="*/ 117 h 251"/>
                <a:gd name="T78" fmla="*/ 341 w 345"/>
                <a:gd name="T79" fmla="*/ 118 h 251"/>
                <a:gd name="T80" fmla="*/ 6 w 345"/>
                <a:gd name="T81" fmla="*/ 90 h 251"/>
                <a:gd name="T82" fmla="*/ 344 w 345"/>
                <a:gd name="T83" fmla="*/ 97 h 251"/>
                <a:gd name="T84" fmla="*/ 345 w 345"/>
                <a:gd name="T85" fmla="*/ 83 h 251"/>
                <a:gd name="T86" fmla="*/ 0 w 345"/>
                <a:gd name="T87" fmla="*/ 78 h 251"/>
                <a:gd name="T88" fmla="*/ 6 w 345"/>
                <a:gd name="T89" fmla="*/ 78 h 251"/>
                <a:gd name="T90" fmla="*/ 339 w 345"/>
                <a:gd name="T91" fmla="*/ 76 h 251"/>
                <a:gd name="T92" fmla="*/ 345 w 345"/>
                <a:gd name="T93" fmla="*/ 76 h 251"/>
                <a:gd name="T94" fmla="*/ 0 w 345"/>
                <a:gd name="T95" fmla="*/ 62 h 251"/>
                <a:gd name="T96" fmla="*/ 7 w 345"/>
                <a:gd name="T97" fmla="*/ 63 h 251"/>
                <a:gd name="T98" fmla="*/ 342 w 345"/>
                <a:gd name="T99" fmla="*/ 40 h 251"/>
                <a:gd name="T100" fmla="*/ 334 w 345"/>
                <a:gd name="T101" fmla="*/ 35 h 251"/>
                <a:gd name="T102" fmla="*/ 340 w 345"/>
                <a:gd name="T103" fmla="*/ 33 h 251"/>
                <a:gd name="T104" fmla="*/ 323 w 345"/>
                <a:gd name="T105" fmla="*/ 3 h 251"/>
                <a:gd name="T106" fmla="*/ 328 w 345"/>
                <a:gd name="T107"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251">
                  <a:moveTo>
                    <a:pt x="173" y="251"/>
                  </a:moveTo>
                  <a:cubicBezTo>
                    <a:pt x="172" y="251"/>
                    <a:pt x="171" y="251"/>
                    <a:pt x="170" y="251"/>
                  </a:cubicBezTo>
                  <a:cubicBezTo>
                    <a:pt x="170" y="245"/>
                    <a:pt x="170" y="245"/>
                    <a:pt x="170" y="245"/>
                  </a:cubicBezTo>
                  <a:cubicBezTo>
                    <a:pt x="174" y="245"/>
                    <a:pt x="179" y="245"/>
                    <a:pt x="184" y="245"/>
                  </a:cubicBezTo>
                  <a:cubicBezTo>
                    <a:pt x="184" y="251"/>
                    <a:pt x="184" y="251"/>
                    <a:pt x="184" y="251"/>
                  </a:cubicBezTo>
                  <a:cubicBezTo>
                    <a:pt x="180" y="251"/>
                    <a:pt x="177" y="251"/>
                    <a:pt x="173" y="251"/>
                  </a:cubicBezTo>
                  <a:close/>
                  <a:moveTo>
                    <a:pt x="163" y="251"/>
                  </a:moveTo>
                  <a:cubicBezTo>
                    <a:pt x="158" y="251"/>
                    <a:pt x="153" y="250"/>
                    <a:pt x="148" y="250"/>
                  </a:cubicBezTo>
                  <a:cubicBezTo>
                    <a:pt x="149" y="243"/>
                    <a:pt x="149" y="243"/>
                    <a:pt x="149" y="243"/>
                  </a:cubicBezTo>
                  <a:cubicBezTo>
                    <a:pt x="154" y="244"/>
                    <a:pt x="158" y="245"/>
                    <a:pt x="163" y="245"/>
                  </a:cubicBezTo>
                  <a:lnTo>
                    <a:pt x="163" y="251"/>
                  </a:lnTo>
                  <a:close/>
                  <a:moveTo>
                    <a:pt x="191" y="251"/>
                  </a:moveTo>
                  <a:cubicBezTo>
                    <a:pt x="190" y="244"/>
                    <a:pt x="190" y="244"/>
                    <a:pt x="190" y="244"/>
                  </a:cubicBezTo>
                  <a:cubicBezTo>
                    <a:pt x="195" y="244"/>
                    <a:pt x="199" y="243"/>
                    <a:pt x="204" y="242"/>
                  </a:cubicBezTo>
                  <a:cubicBezTo>
                    <a:pt x="205" y="248"/>
                    <a:pt x="205" y="248"/>
                    <a:pt x="205" y="248"/>
                  </a:cubicBezTo>
                  <a:cubicBezTo>
                    <a:pt x="200" y="249"/>
                    <a:pt x="196" y="250"/>
                    <a:pt x="191" y="251"/>
                  </a:cubicBezTo>
                  <a:close/>
                  <a:moveTo>
                    <a:pt x="141" y="249"/>
                  </a:moveTo>
                  <a:cubicBezTo>
                    <a:pt x="137" y="248"/>
                    <a:pt x="132" y="247"/>
                    <a:pt x="127" y="245"/>
                  </a:cubicBezTo>
                  <a:cubicBezTo>
                    <a:pt x="129" y="239"/>
                    <a:pt x="129" y="239"/>
                    <a:pt x="129" y="239"/>
                  </a:cubicBezTo>
                  <a:cubicBezTo>
                    <a:pt x="133" y="240"/>
                    <a:pt x="138" y="241"/>
                    <a:pt x="142" y="242"/>
                  </a:cubicBezTo>
                  <a:lnTo>
                    <a:pt x="141" y="249"/>
                  </a:lnTo>
                  <a:close/>
                  <a:moveTo>
                    <a:pt x="212" y="247"/>
                  </a:moveTo>
                  <a:cubicBezTo>
                    <a:pt x="211" y="241"/>
                    <a:pt x="211" y="241"/>
                    <a:pt x="211" y="241"/>
                  </a:cubicBezTo>
                  <a:cubicBezTo>
                    <a:pt x="215" y="240"/>
                    <a:pt x="220" y="239"/>
                    <a:pt x="224" y="237"/>
                  </a:cubicBezTo>
                  <a:cubicBezTo>
                    <a:pt x="226" y="243"/>
                    <a:pt x="226" y="243"/>
                    <a:pt x="226" y="243"/>
                  </a:cubicBezTo>
                  <a:cubicBezTo>
                    <a:pt x="221" y="245"/>
                    <a:pt x="217" y="246"/>
                    <a:pt x="212" y="247"/>
                  </a:cubicBezTo>
                  <a:close/>
                  <a:moveTo>
                    <a:pt x="121" y="243"/>
                  </a:moveTo>
                  <a:cubicBezTo>
                    <a:pt x="116" y="242"/>
                    <a:pt x="112" y="240"/>
                    <a:pt x="107" y="238"/>
                  </a:cubicBezTo>
                  <a:cubicBezTo>
                    <a:pt x="110" y="233"/>
                    <a:pt x="110" y="233"/>
                    <a:pt x="110" y="233"/>
                  </a:cubicBezTo>
                  <a:cubicBezTo>
                    <a:pt x="114" y="234"/>
                    <a:pt x="118" y="236"/>
                    <a:pt x="123" y="237"/>
                  </a:cubicBezTo>
                  <a:lnTo>
                    <a:pt x="121" y="243"/>
                  </a:lnTo>
                  <a:close/>
                  <a:moveTo>
                    <a:pt x="233" y="241"/>
                  </a:moveTo>
                  <a:cubicBezTo>
                    <a:pt x="230" y="235"/>
                    <a:pt x="230" y="235"/>
                    <a:pt x="230" y="235"/>
                  </a:cubicBezTo>
                  <a:cubicBezTo>
                    <a:pt x="235" y="233"/>
                    <a:pt x="239" y="232"/>
                    <a:pt x="243" y="230"/>
                  </a:cubicBezTo>
                  <a:cubicBezTo>
                    <a:pt x="246" y="236"/>
                    <a:pt x="246" y="236"/>
                    <a:pt x="246" y="236"/>
                  </a:cubicBezTo>
                  <a:cubicBezTo>
                    <a:pt x="241" y="238"/>
                    <a:pt x="237" y="239"/>
                    <a:pt x="233" y="241"/>
                  </a:cubicBezTo>
                  <a:close/>
                  <a:moveTo>
                    <a:pt x="101" y="236"/>
                  </a:moveTo>
                  <a:cubicBezTo>
                    <a:pt x="96" y="234"/>
                    <a:pt x="92" y="231"/>
                    <a:pt x="88" y="229"/>
                  </a:cubicBezTo>
                  <a:cubicBezTo>
                    <a:pt x="91" y="224"/>
                    <a:pt x="91" y="224"/>
                    <a:pt x="91" y="224"/>
                  </a:cubicBezTo>
                  <a:cubicBezTo>
                    <a:pt x="95" y="226"/>
                    <a:pt x="99" y="228"/>
                    <a:pt x="103" y="230"/>
                  </a:cubicBezTo>
                  <a:lnTo>
                    <a:pt x="101" y="236"/>
                  </a:lnTo>
                  <a:close/>
                  <a:moveTo>
                    <a:pt x="252" y="232"/>
                  </a:moveTo>
                  <a:cubicBezTo>
                    <a:pt x="249" y="227"/>
                    <a:pt x="249" y="227"/>
                    <a:pt x="249" y="227"/>
                  </a:cubicBezTo>
                  <a:cubicBezTo>
                    <a:pt x="253" y="225"/>
                    <a:pt x="257" y="222"/>
                    <a:pt x="261" y="220"/>
                  </a:cubicBezTo>
                  <a:cubicBezTo>
                    <a:pt x="265" y="225"/>
                    <a:pt x="265" y="225"/>
                    <a:pt x="265" y="225"/>
                  </a:cubicBezTo>
                  <a:cubicBezTo>
                    <a:pt x="261" y="228"/>
                    <a:pt x="256" y="230"/>
                    <a:pt x="252" y="232"/>
                  </a:cubicBezTo>
                  <a:close/>
                  <a:moveTo>
                    <a:pt x="82" y="225"/>
                  </a:moveTo>
                  <a:cubicBezTo>
                    <a:pt x="81" y="225"/>
                    <a:pt x="81" y="225"/>
                    <a:pt x="81" y="225"/>
                  </a:cubicBezTo>
                  <a:cubicBezTo>
                    <a:pt x="77" y="223"/>
                    <a:pt x="74" y="220"/>
                    <a:pt x="70" y="217"/>
                  </a:cubicBezTo>
                  <a:cubicBezTo>
                    <a:pt x="74" y="212"/>
                    <a:pt x="74" y="212"/>
                    <a:pt x="74" y="212"/>
                  </a:cubicBezTo>
                  <a:cubicBezTo>
                    <a:pt x="77" y="215"/>
                    <a:pt x="81" y="217"/>
                    <a:pt x="85" y="220"/>
                  </a:cubicBezTo>
                  <a:cubicBezTo>
                    <a:pt x="85" y="220"/>
                    <a:pt x="85" y="220"/>
                    <a:pt x="85" y="220"/>
                  </a:cubicBezTo>
                  <a:lnTo>
                    <a:pt x="82" y="225"/>
                  </a:lnTo>
                  <a:close/>
                  <a:moveTo>
                    <a:pt x="271" y="222"/>
                  </a:moveTo>
                  <a:cubicBezTo>
                    <a:pt x="267" y="216"/>
                    <a:pt x="267" y="216"/>
                    <a:pt x="267" y="216"/>
                  </a:cubicBezTo>
                  <a:cubicBezTo>
                    <a:pt x="271" y="214"/>
                    <a:pt x="275" y="211"/>
                    <a:pt x="278" y="208"/>
                  </a:cubicBezTo>
                  <a:cubicBezTo>
                    <a:pt x="282" y="213"/>
                    <a:pt x="282" y="213"/>
                    <a:pt x="282" y="213"/>
                  </a:cubicBezTo>
                  <a:cubicBezTo>
                    <a:pt x="278" y="216"/>
                    <a:pt x="274" y="219"/>
                    <a:pt x="271" y="222"/>
                  </a:cubicBezTo>
                  <a:close/>
                  <a:moveTo>
                    <a:pt x="64" y="213"/>
                  </a:moveTo>
                  <a:cubicBezTo>
                    <a:pt x="61" y="210"/>
                    <a:pt x="57" y="207"/>
                    <a:pt x="54" y="204"/>
                  </a:cubicBezTo>
                  <a:cubicBezTo>
                    <a:pt x="58" y="199"/>
                    <a:pt x="58" y="199"/>
                    <a:pt x="58" y="199"/>
                  </a:cubicBezTo>
                  <a:cubicBezTo>
                    <a:pt x="61" y="202"/>
                    <a:pt x="65" y="205"/>
                    <a:pt x="68" y="208"/>
                  </a:cubicBezTo>
                  <a:lnTo>
                    <a:pt x="64" y="213"/>
                  </a:lnTo>
                  <a:close/>
                  <a:moveTo>
                    <a:pt x="287" y="209"/>
                  </a:moveTo>
                  <a:cubicBezTo>
                    <a:pt x="283" y="204"/>
                    <a:pt x="283" y="204"/>
                    <a:pt x="283" y="204"/>
                  </a:cubicBezTo>
                  <a:cubicBezTo>
                    <a:pt x="287" y="201"/>
                    <a:pt x="290" y="198"/>
                    <a:pt x="293" y="194"/>
                  </a:cubicBezTo>
                  <a:cubicBezTo>
                    <a:pt x="298" y="199"/>
                    <a:pt x="298" y="199"/>
                    <a:pt x="298" y="199"/>
                  </a:cubicBezTo>
                  <a:cubicBezTo>
                    <a:pt x="295" y="202"/>
                    <a:pt x="291" y="205"/>
                    <a:pt x="287" y="209"/>
                  </a:cubicBezTo>
                  <a:close/>
                  <a:moveTo>
                    <a:pt x="49" y="199"/>
                  </a:moveTo>
                  <a:cubicBezTo>
                    <a:pt x="45" y="195"/>
                    <a:pt x="42" y="192"/>
                    <a:pt x="39" y="188"/>
                  </a:cubicBezTo>
                  <a:cubicBezTo>
                    <a:pt x="44" y="184"/>
                    <a:pt x="44" y="184"/>
                    <a:pt x="44" y="184"/>
                  </a:cubicBezTo>
                  <a:cubicBezTo>
                    <a:pt x="47" y="188"/>
                    <a:pt x="50" y="191"/>
                    <a:pt x="53" y="194"/>
                  </a:cubicBezTo>
                  <a:lnTo>
                    <a:pt x="49" y="199"/>
                  </a:lnTo>
                  <a:close/>
                  <a:moveTo>
                    <a:pt x="303" y="193"/>
                  </a:moveTo>
                  <a:cubicBezTo>
                    <a:pt x="298" y="189"/>
                    <a:pt x="298" y="189"/>
                    <a:pt x="298" y="189"/>
                  </a:cubicBezTo>
                  <a:cubicBezTo>
                    <a:pt x="301" y="186"/>
                    <a:pt x="304" y="182"/>
                    <a:pt x="307" y="179"/>
                  </a:cubicBezTo>
                  <a:cubicBezTo>
                    <a:pt x="312" y="182"/>
                    <a:pt x="312" y="182"/>
                    <a:pt x="312" y="182"/>
                  </a:cubicBezTo>
                  <a:cubicBezTo>
                    <a:pt x="309" y="186"/>
                    <a:pt x="306" y="190"/>
                    <a:pt x="303" y="193"/>
                  </a:cubicBezTo>
                  <a:close/>
                  <a:moveTo>
                    <a:pt x="35" y="183"/>
                  </a:moveTo>
                  <a:cubicBezTo>
                    <a:pt x="32" y="179"/>
                    <a:pt x="29" y="175"/>
                    <a:pt x="27" y="171"/>
                  </a:cubicBezTo>
                  <a:cubicBezTo>
                    <a:pt x="32" y="167"/>
                    <a:pt x="32" y="167"/>
                    <a:pt x="32" y="167"/>
                  </a:cubicBezTo>
                  <a:cubicBezTo>
                    <a:pt x="34" y="171"/>
                    <a:pt x="37" y="175"/>
                    <a:pt x="40" y="179"/>
                  </a:cubicBezTo>
                  <a:lnTo>
                    <a:pt x="35" y="183"/>
                  </a:lnTo>
                  <a:close/>
                  <a:moveTo>
                    <a:pt x="316" y="177"/>
                  </a:moveTo>
                  <a:cubicBezTo>
                    <a:pt x="311" y="173"/>
                    <a:pt x="311" y="173"/>
                    <a:pt x="311" y="173"/>
                  </a:cubicBezTo>
                  <a:cubicBezTo>
                    <a:pt x="312" y="171"/>
                    <a:pt x="314" y="169"/>
                    <a:pt x="315" y="166"/>
                  </a:cubicBezTo>
                  <a:cubicBezTo>
                    <a:pt x="316" y="165"/>
                    <a:pt x="317" y="163"/>
                    <a:pt x="318" y="161"/>
                  </a:cubicBezTo>
                  <a:cubicBezTo>
                    <a:pt x="323" y="165"/>
                    <a:pt x="323" y="165"/>
                    <a:pt x="323" y="165"/>
                  </a:cubicBezTo>
                  <a:cubicBezTo>
                    <a:pt x="323" y="166"/>
                    <a:pt x="321" y="168"/>
                    <a:pt x="320" y="170"/>
                  </a:cubicBezTo>
                  <a:cubicBezTo>
                    <a:pt x="319" y="172"/>
                    <a:pt x="317" y="174"/>
                    <a:pt x="316" y="177"/>
                  </a:cubicBezTo>
                  <a:close/>
                  <a:moveTo>
                    <a:pt x="23" y="165"/>
                  </a:moveTo>
                  <a:cubicBezTo>
                    <a:pt x="20" y="161"/>
                    <a:pt x="18" y="156"/>
                    <a:pt x="16" y="152"/>
                  </a:cubicBezTo>
                  <a:cubicBezTo>
                    <a:pt x="22" y="149"/>
                    <a:pt x="22" y="149"/>
                    <a:pt x="22" y="149"/>
                  </a:cubicBezTo>
                  <a:cubicBezTo>
                    <a:pt x="24" y="154"/>
                    <a:pt x="26" y="158"/>
                    <a:pt x="28" y="162"/>
                  </a:cubicBezTo>
                  <a:lnTo>
                    <a:pt x="23" y="165"/>
                  </a:lnTo>
                  <a:close/>
                  <a:moveTo>
                    <a:pt x="327" y="158"/>
                  </a:moveTo>
                  <a:cubicBezTo>
                    <a:pt x="321" y="155"/>
                    <a:pt x="321" y="155"/>
                    <a:pt x="321" y="155"/>
                  </a:cubicBezTo>
                  <a:cubicBezTo>
                    <a:pt x="323" y="151"/>
                    <a:pt x="325" y="147"/>
                    <a:pt x="327" y="143"/>
                  </a:cubicBezTo>
                  <a:cubicBezTo>
                    <a:pt x="333" y="145"/>
                    <a:pt x="333" y="145"/>
                    <a:pt x="333" y="145"/>
                  </a:cubicBezTo>
                  <a:cubicBezTo>
                    <a:pt x="331" y="150"/>
                    <a:pt x="329" y="154"/>
                    <a:pt x="327" y="158"/>
                  </a:cubicBezTo>
                  <a:close/>
                  <a:moveTo>
                    <a:pt x="13" y="146"/>
                  </a:moveTo>
                  <a:cubicBezTo>
                    <a:pt x="11" y="141"/>
                    <a:pt x="10" y="137"/>
                    <a:pt x="8" y="132"/>
                  </a:cubicBezTo>
                  <a:cubicBezTo>
                    <a:pt x="14" y="130"/>
                    <a:pt x="14" y="130"/>
                    <a:pt x="14" y="130"/>
                  </a:cubicBezTo>
                  <a:cubicBezTo>
                    <a:pt x="16" y="135"/>
                    <a:pt x="17" y="139"/>
                    <a:pt x="19" y="143"/>
                  </a:cubicBezTo>
                  <a:lnTo>
                    <a:pt x="13" y="146"/>
                  </a:lnTo>
                  <a:close/>
                  <a:moveTo>
                    <a:pt x="335" y="139"/>
                  </a:moveTo>
                  <a:cubicBezTo>
                    <a:pt x="329" y="137"/>
                    <a:pt x="329" y="137"/>
                    <a:pt x="329" y="137"/>
                  </a:cubicBezTo>
                  <a:cubicBezTo>
                    <a:pt x="331" y="132"/>
                    <a:pt x="332" y="128"/>
                    <a:pt x="333" y="123"/>
                  </a:cubicBezTo>
                  <a:cubicBezTo>
                    <a:pt x="339" y="125"/>
                    <a:pt x="339" y="125"/>
                    <a:pt x="339" y="125"/>
                  </a:cubicBezTo>
                  <a:cubicBezTo>
                    <a:pt x="338" y="130"/>
                    <a:pt x="337" y="134"/>
                    <a:pt x="335" y="139"/>
                  </a:cubicBezTo>
                  <a:close/>
                  <a:moveTo>
                    <a:pt x="6" y="125"/>
                  </a:moveTo>
                  <a:cubicBezTo>
                    <a:pt x="5" y="121"/>
                    <a:pt x="4" y="116"/>
                    <a:pt x="3" y="112"/>
                  </a:cubicBezTo>
                  <a:cubicBezTo>
                    <a:pt x="9" y="110"/>
                    <a:pt x="9" y="110"/>
                    <a:pt x="9" y="110"/>
                  </a:cubicBezTo>
                  <a:cubicBezTo>
                    <a:pt x="10" y="115"/>
                    <a:pt x="11" y="119"/>
                    <a:pt x="12" y="124"/>
                  </a:cubicBezTo>
                  <a:lnTo>
                    <a:pt x="6" y="125"/>
                  </a:lnTo>
                  <a:close/>
                  <a:moveTo>
                    <a:pt x="341" y="118"/>
                  </a:moveTo>
                  <a:cubicBezTo>
                    <a:pt x="335" y="117"/>
                    <a:pt x="335" y="117"/>
                    <a:pt x="335" y="117"/>
                  </a:cubicBezTo>
                  <a:cubicBezTo>
                    <a:pt x="336" y="112"/>
                    <a:pt x="337" y="108"/>
                    <a:pt x="337" y="103"/>
                  </a:cubicBezTo>
                  <a:cubicBezTo>
                    <a:pt x="344" y="104"/>
                    <a:pt x="344" y="104"/>
                    <a:pt x="344" y="104"/>
                  </a:cubicBezTo>
                  <a:cubicBezTo>
                    <a:pt x="343" y="109"/>
                    <a:pt x="342" y="113"/>
                    <a:pt x="341" y="118"/>
                  </a:cubicBezTo>
                  <a:close/>
                  <a:moveTo>
                    <a:pt x="2" y="105"/>
                  </a:moveTo>
                  <a:cubicBezTo>
                    <a:pt x="1" y="100"/>
                    <a:pt x="0" y="95"/>
                    <a:pt x="0" y="90"/>
                  </a:cubicBezTo>
                  <a:cubicBezTo>
                    <a:pt x="6" y="90"/>
                    <a:pt x="6" y="90"/>
                    <a:pt x="6" y="90"/>
                  </a:cubicBezTo>
                  <a:cubicBezTo>
                    <a:pt x="7" y="95"/>
                    <a:pt x="7" y="99"/>
                    <a:pt x="8" y="104"/>
                  </a:cubicBezTo>
                  <a:lnTo>
                    <a:pt x="2" y="105"/>
                  </a:lnTo>
                  <a:close/>
                  <a:moveTo>
                    <a:pt x="344" y="97"/>
                  </a:moveTo>
                  <a:cubicBezTo>
                    <a:pt x="338" y="96"/>
                    <a:pt x="338" y="96"/>
                    <a:pt x="338" y="96"/>
                  </a:cubicBezTo>
                  <a:cubicBezTo>
                    <a:pt x="339" y="92"/>
                    <a:pt x="339" y="87"/>
                    <a:pt x="339" y="83"/>
                  </a:cubicBezTo>
                  <a:cubicBezTo>
                    <a:pt x="345" y="83"/>
                    <a:pt x="345" y="83"/>
                    <a:pt x="345" y="83"/>
                  </a:cubicBezTo>
                  <a:cubicBezTo>
                    <a:pt x="345" y="88"/>
                    <a:pt x="345" y="92"/>
                    <a:pt x="344" y="97"/>
                  </a:cubicBezTo>
                  <a:close/>
                  <a:moveTo>
                    <a:pt x="0" y="83"/>
                  </a:moveTo>
                  <a:cubicBezTo>
                    <a:pt x="0" y="81"/>
                    <a:pt x="0" y="80"/>
                    <a:pt x="0" y="78"/>
                  </a:cubicBezTo>
                  <a:cubicBezTo>
                    <a:pt x="0" y="75"/>
                    <a:pt x="0" y="72"/>
                    <a:pt x="0" y="69"/>
                  </a:cubicBezTo>
                  <a:cubicBezTo>
                    <a:pt x="6" y="69"/>
                    <a:pt x="6" y="69"/>
                    <a:pt x="6" y="69"/>
                  </a:cubicBezTo>
                  <a:cubicBezTo>
                    <a:pt x="6" y="72"/>
                    <a:pt x="6" y="75"/>
                    <a:pt x="6" y="78"/>
                  </a:cubicBezTo>
                  <a:cubicBezTo>
                    <a:pt x="6" y="80"/>
                    <a:pt x="6" y="81"/>
                    <a:pt x="6" y="83"/>
                  </a:cubicBezTo>
                  <a:lnTo>
                    <a:pt x="0" y="83"/>
                  </a:lnTo>
                  <a:close/>
                  <a:moveTo>
                    <a:pt x="339" y="76"/>
                  </a:moveTo>
                  <a:cubicBezTo>
                    <a:pt x="339" y="71"/>
                    <a:pt x="339" y="67"/>
                    <a:pt x="338" y="62"/>
                  </a:cubicBezTo>
                  <a:cubicBezTo>
                    <a:pt x="345" y="61"/>
                    <a:pt x="345" y="61"/>
                    <a:pt x="345" y="61"/>
                  </a:cubicBezTo>
                  <a:cubicBezTo>
                    <a:pt x="345" y="66"/>
                    <a:pt x="345" y="71"/>
                    <a:pt x="345" y="76"/>
                  </a:cubicBezTo>
                  <a:lnTo>
                    <a:pt x="339" y="76"/>
                  </a:lnTo>
                  <a:close/>
                  <a:moveTo>
                    <a:pt x="7" y="63"/>
                  </a:moveTo>
                  <a:cubicBezTo>
                    <a:pt x="0" y="62"/>
                    <a:pt x="0" y="62"/>
                    <a:pt x="0" y="62"/>
                  </a:cubicBezTo>
                  <a:cubicBezTo>
                    <a:pt x="1" y="57"/>
                    <a:pt x="1" y="52"/>
                    <a:pt x="2" y="48"/>
                  </a:cubicBezTo>
                  <a:cubicBezTo>
                    <a:pt x="8" y="49"/>
                    <a:pt x="8" y="49"/>
                    <a:pt x="8" y="49"/>
                  </a:cubicBezTo>
                  <a:cubicBezTo>
                    <a:pt x="8" y="53"/>
                    <a:pt x="7" y="58"/>
                    <a:pt x="7" y="63"/>
                  </a:cubicBezTo>
                  <a:close/>
                  <a:moveTo>
                    <a:pt x="338" y="55"/>
                  </a:moveTo>
                  <a:cubicBezTo>
                    <a:pt x="337" y="51"/>
                    <a:pt x="336" y="46"/>
                    <a:pt x="335" y="42"/>
                  </a:cubicBezTo>
                  <a:cubicBezTo>
                    <a:pt x="342" y="40"/>
                    <a:pt x="342" y="40"/>
                    <a:pt x="342" y="40"/>
                  </a:cubicBezTo>
                  <a:cubicBezTo>
                    <a:pt x="343" y="45"/>
                    <a:pt x="343" y="50"/>
                    <a:pt x="344" y="54"/>
                  </a:cubicBezTo>
                  <a:lnTo>
                    <a:pt x="338" y="55"/>
                  </a:lnTo>
                  <a:close/>
                  <a:moveTo>
                    <a:pt x="334" y="35"/>
                  </a:moveTo>
                  <a:cubicBezTo>
                    <a:pt x="333" y="30"/>
                    <a:pt x="332" y="26"/>
                    <a:pt x="330" y="22"/>
                  </a:cubicBezTo>
                  <a:cubicBezTo>
                    <a:pt x="336" y="20"/>
                    <a:pt x="336" y="20"/>
                    <a:pt x="336" y="20"/>
                  </a:cubicBezTo>
                  <a:cubicBezTo>
                    <a:pt x="338" y="24"/>
                    <a:pt x="339" y="29"/>
                    <a:pt x="340" y="33"/>
                  </a:cubicBezTo>
                  <a:lnTo>
                    <a:pt x="334" y="35"/>
                  </a:lnTo>
                  <a:close/>
                  <a:moveTo>
                    <a:pt x="328" y="15"/>
                  </a:moveTo>
                  <a:cubicBezTo>
                    <a:pt x="327" y="11"/>
                    <a:pt x="325" y="7"/>
                    <a:pt x="323" y="3"/>
                  </a:cubicBezTo>
                  <a:cubicBezTo>
                    <a:pt x="329" y="0"/>
                    <a:pt x="329" y="0"/>
                    <a:pt x="329" y="0"/>
                  </a:cubicBezTo>
                  <a:cubicBezTo>
                    <a:pt x="331" y="4"/>
                    <a:pt x="332" y="9"/>
                    <a:pt x="334" y="13"/>
                  </a:cubicBezTo>
                  <a:lnTo>
                    <a:pt x="328"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18" name="Wheel connector"/>
          <p:cNvGrpSpPr/>
          <p:nvPr userDrawn="1"/>
        </p:nvGrpSpPr>
        <p:grpSpPr bwMode="black">
          <a:xfrm>
            <a:off x="6515932" y="5246768"/>
            <a:ext cx="926414" cy="807173"/>
            <a:chOff x="1739901" y="3017084"/>
            <a:chExt cx="1122362" cy="977900"/>
          </a:xfrm>
        </p:grpSpPr>
        <p:sp>
          <p:nvSpPr>
            <p:cNvPr id="19" name="Freeform 14"/>
            <p:cNvSpPr>
              <a:spLocks/>
            </p:cNvSpPr>
            <p:nvPr userDrawn="1"/>
          </p:nvSpPr>
          <p:spPr bwMode="black">
            <a:xfrm>
              <a:off x="1739901" y="3415546"/>
              <a:ext cx="925513" cy="579438"/>
            </a:xfrm>
            <a:custGeom>
              <a:avLst/>
              <a:gdLst>
                <a:gd name="T0" fmla="*/ 575 w 583"/>
                <a:gd name="T1" fmla="*/ 365 h 365"/>
                <a:gd name="T2" fmla="*/ 0 w 583"/>
                <a:gd name="T3" fmla="*/ 14 h 365"/>
                <a:gd name="T4" fmla="*/ 9 w 583"/>
                <a:gd name="T5" fmla="*/ 0 h 365"/>
                <a:gd name="T6" fmla="*/ 583 w 583"/>
                <a:gd name="T7" fmla="*/ 351 h 365"/>
                <a:gd name="T8" fmla="*/ 575 w 583"/>
                <a:gd name="T9" fmla="*/ 365 h 365"/>
              </a:gdLst>
              <a:ahLst/>
              <a:cxnLst>
                <a:cxn ang="0">
                  <a:pos x="T0" y="T1"/>
                </a:cxn>
                <a:cxn ang="0">
                  <a:pos x="T2" y="T3"/>
                </a:cxn>
                <a:cxn ang="0">
                  <a:pos x="T4" y="T5"/>
                </a:cxn>
                <a:cxn ang="0">
                  <a:pos x="T6" y="T7"/>
                </a:cxn>
                <a:cxn ang="0">
                  <a:pos x="T8" y="T9"/>
                </a:cxn>
              </a:cxnLst>
              <a:rect l="0" t="0" r="r" b="b"/>
              <a:pathLst>
                <a:path w="583" h="365">
                  <a:moveTo>
                    <a:pt x="575" y="365"/>
                  </a:moveTo>
                  <a:lnTo>
                    <a:pt x="0" y="14"/>
                  </a:lnTo>
                  <a:lnTo>
                    <a:pt x="9" y="0"/>
                  </a:lnTo>
                  <a:lnTo>
                    <a:pt x="583" y="351"/>
                  </a:lnTo>
                  <a:lnTo>
                    <a:pt x="575"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0" name="Freeform 15"/>
            <p:cNvSpPr>
              <a:spLocks/>
            </p:cNvSpPr>
            <p:nvPr userDrawn="1"/>
          </p:nvSpPr>
          <p:spPr bwMode="black">
            <a:xfrm>
              <a:off x="2001838" y="3017084"/>
              <a:ext cx="860425" cy="681038"/>
            </a:xfrm>
            <a:custGeom>
              <a:avLst/>
              <a:gdLst>
                <a:gd name="T0" fmla="*/ 532 w 542"/>
                <a:gd name="T1" fmla="*/ 429 h 429"/>
                <a:gd name="T2" fmla="*/ 0 w 542"/>
                <a:gd name="T3" fmla="*/ 12 h 429"/>
                <a:gd name="T4" fmla="*/ 11 w 542"/>
                <a:gd name="T5" fmla="*/ 0 h 429"/>
                <a:gd name="T6" fmla="*/ 542 w 542"/>
                <a:gd name="T7" fmla="*/ 417 h 429"/>
                <a:gd name="T8" fmla="*/ 532 w 542"/>
                <a:gd name="T9" fmla="*/ 429 h 429"/>
              </a:gdLst>
              <a:ahLst/>
              <a:cxnLst>
                <a:cxn ang="0">
                  <a:pos x="T0" y="T1"/>
                </a:cxn>
                <a:cxn ang="0">
                  <a:pos x="T2" y="T3"/>
                </a:cxn>
                <a:cxn ang="0">
                  <a:pos x="T4" y="T5"/>
                </a:cxn>
                <a:cxn ang="0">
                  <a:pos x="T6" y="T7"/>
                </a:cxn>
                <a:cxn ang="0">
                  <a:pos x="T8" y="T9"/>
                </a:cxn>
              </a:cxnLst>
              <a:rect l="0" t="0" r="r" b="b"/>
              <a:pathLst>
                <a:path w="542" h="429">
                  <a:moveTo>
                    <a:pt x="532" y="429"/>
                  </a:moveTo>
                  <a:lnTo>
                    <a:pt x="0" y="12"/>
                  </a:lnTo>
                  <a:lnTo>
                    <a:pt x="11" y="0"/>
                  </a:lnTo>
                  <a:lnTo>
                    <a:pt x="542" y="417"/>
                  </a:lnTo>
                  <a:lnTo>
                    <a:pt x="532" y="4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21" name="Arrow around wheel 1"/>
          <p:cNvGrpSpPr/>
          <p:nvPr userDrawn="1"/>
        </p:nvGrpSpPr>
        <p:grpSpPr bwMode="black">
          <a:xfrm>
            <a:off x="6295794" y="5077733"/>
            <a:ext cx="517587" cy="638139"/>
            <a:chOff x="1473201" y="2812296"/>
            <a:chExt cx="627063" cy="773113"/>
          </a:xfrm>
        </p:grpSpPr>
        <p:sp>
          <p:nvSpPr>
            <p:cNvPr id="22" name="Freeform 16"/>
            <p:cNvSpPr>
              <a:spLocks noEditPoints="1"/>
            </p:cNvSpPr>
            <p:nvPr userDrawn="1"/>
          </p:nvSpPr>
          <p:spPr bwMode="black">
            <a:xfrm>
              <a:off x="1978026" y="2812296"/>
              <a:ext cx="122238" cy="115888"/>
            </a:xfrm>
            <a:custGeom>
              <a:avLst/>
              <a:gdLst>
                <a:gd name="T0" fmla="*/ 0 w 77"/>
                <a:gd name="T1" fmla="*/ 73 h 73"/>
                <a:gd name="T2" fmla="*/ 31 w 77"/>
                <a:gd name="T3" fmla="*/ 0 h 73"/>
                <a:gd name="T4" fmla="*/ 77 w 77"/>
                <a:gd name="T5" fmla="*/ 64 h 73"/>
                <a:gd name="T6" fmla="*/ 0 w 77"/>
                <a:gd name="T7" fmla="*/ 73 h 73"/>
                <a:gd name="T8" fmla="*/ 33 w 77"/>
                <a:gd name="T9" fmla="*/ 19 h 73"/>
                <a:gd name="T10" fmla="*/ 15 w 77"/>
                <a:gd name="T11" fmla="*/ 62 h 73"/>
                <a:gd name="T12" fmla="*/ 60 w 77"/>
                <a:gd name="T13" fmla="*/ 57 h 73"/>
                <a:gd name="T14" fmla="*/ 33 w 77"/>
                <a:gd name="T15" fmla="*/ 19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73">
                  <a:moveTo>
                    <a:pt x="0" y="73"/>
                  </a:moveTo>
                  <a:lnTo>
                    <a:pt x="31" y="0"/>
                  </a:lnTo>
                  <a:lnTo>
                    <a:pt x="77" y="64"/>
                  </a:lnTo>
                  <a:lnTo>
                    <a:pt x="0" y="73"/>
                  </a:lnTo>
                  <a:close/>
                  <a:moveTo>
                    <a:pt x="33" y="19"/>
                  </a:moveTo>
                  <a:lnTo>
                    <a:pt x="15" y="62"/>
                  </a:lnTo>
                  <a:lnTo>
                    <a:pt x="60" y="57"/>
                  </a:lnTo>
                  <a:lnTo>
                    <a:pt x="33"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3" name="Freeform 17"/>
            <p:cNvSpPr>
              <a:spLocks noEditPoints="1"/>
            </p:cNvSpPr>
            <p:nvPr userDrawn="1"/>
          </p:nvSpPr>
          <p:spPr bwMode="black">
            <a:xfrm>
              <a:off x="1473201" y="2834521"/>
              <a:ext cx="509588" cy="750888"/>
            </a:xfrm>
            <a:custGeom>
              <a:avLst/>
              <a:gdLst>
                <a:gd name="T0" fmla="*/ 83 w 187"/>
                <a:gd name="T1" fmla="*/ 270 h 275"/>
                <a:gd name="T2" fmla="*/ 99 w 187"/>
                <a:gd name="T3" fmla="*/ 269 h 275"/>
                <a:gd name="T4" fmla="*/ 77 w 187"/>
                <a:gd name="T5" fmla="*/ 267 h 275"/>
                <a:gd name="T6" fmla="*/ 68 w 187"/>
                <a:gd name="T7" fmla="*/ 254 h 275"/>
                <a:gd name="T8" fmla="*/ 77 w 187"/>
                <a:gd name="T9" fmla="*/ 267 h 275"/>
                <a:gd name="T10" fmla="*/ 49 w 187"/>
                <a:gd name="T11" fmla="*/ 248 h 275"/>
                <a:gd name="T12" fmla="*/ 52 w 187"/>
                <a:gd name="T13" fmla="*/ 242 h 275"/>
                <a:gd name="T14" fmla="*/ 63 w 187"/>
                <a:gd name="T15" fmla="*/ 250 h 275"/>
                <a:gd name="T16" fmla="*/ 42 w 187"/>
                <a:gd name="T17" fmla="*/ 241 h 275"/>
                <a:gd name="T18" fmla="*/ 38 w 187"/>
                <a:gd name="T19" fmla="*/ 227 h 275"/>
                <a:gd name="T20" fmla="*/ 42 w 187"/>
                <a:gd name="T21" fmla="*/ 241 h 275"/>
                <a:gd name="T22" fmla="*/ 20 w 187"/>
                <a:gd name="T23" fmla="*/ 213 h 275"/>
                <a:gd name="T24" fmla="*/ 33 w 187"/>
                <a:gd name="T25" fmla="*/ 221 h 275"/>
                <a:gd name="T26" fmla="*/ 17 w 187"/>
                <a:gd name="T27" fmla="*/ 207 h 275"/>
                <a:gd name="T28" fmla="*/ 17 w 187"/>
                <a:gd name="T29" fmla="*/ 192 h 275"/>
                <a:gd name="T30" fmla="*/ 17 w 187"/>
                <a:gd name="T31" fmla="*/ 207 h 275"/>
                <a:gd name="T32" fmla="*/ 4 w 187"/>
                <a:gd name="T33" fmla="*/ 174 h 275"/>
                <a:gd name="T34" fmla="*/ 14 w 187"/>
                <a:gd name="T35" fmla="*/ 185 h 275"/>
                <a:gd name="T36" fmla="*/ 3 w 187"/>
                <a:gd name="T37" fmla="*/ 167 h 275"/>
                <a:gd name="T38" fmla="*/ 7 w 187"/>
                <a:gd name="T39" fmla="*/ 152 h 275"/>
                <a:gd name="T40" fmla="*/ 3 w 187"/>
                <a:gd name="T41" fmla="*/ 167 h 275"/>
                <a:gd name="T42" fmla="*/ 0 w 187"/>
                <a:gd name="T43" fmla="*/ 141 h 275"/>
                <a:gd name="T44" fmla="*/ 7 w 187"/>
                <a:gd name="T45" fmla="*/ 131 h 275"/>
                <a:gd name="T46" fmla="*/ 7 w 187"/>
                <a:gd name="T47" fmla="*/ 145 h 275"/>
                <a:gd name="T48" fmla="*/ 8 w 187"/>
                <a:gd name="T49" fmla="*/ 125 h 275"/>
                <a:gd name="T50" fmla="*/ 4 w 187"/>
                <a:gd name="T51" fmla="*/ 110 h 275"/>
                <a:gd name="T52" fmla="*/ 8 w 187"/>
                <a:gd name="T53" fmla="*/ 125 h 275"/>
                <a:gd name="T54" fmla="*/ 6 w 187"/>
                <a:gd name="T55" fmla="*/ 103 h 275"/>
                <a:gd name="T56" fmla="*/ 16 w 187"/>
                <a:gd name="T57" fmla="*/ 92 h 275"/>
                <a:gd name="T58" fmla="*/ 19 w 187"/>
                <a:gd name="T59" fmla="*/ 85 h 275"/>
                <a:gd name="T60" fmla="*/ 20 w 187"/>
                <a:gd name="T61" fmla="*/ 70 h 275"/>
                <a:gd name="T62" fmla="*/ 19 w 187"/>
                <a:gd name="T63" fmla="*/ 85 h 275"/>
                <a:gd name="T64" fmla="*/ 24 w 187"/>
                <a:gd name="T65" fmla="*/ 64 h 275"/>
                <a:gd name="T66" fmla="*/ 37 w 187"/>
                <a:gd name="T67" fmla="*/ 56 h 275"/>
                <a:gd name="T68" fmla="*/ 41 w 187"/>
                <a:gd name="T69" fmla="*/ 51 h 275"/>
                <a:gd name="T70" fmla="*/ 47 w 187"/>
                <a:gd name="T71" fmla="*/ 37 h 275"/>
                <a:gd name="T72" fmla="*/ 41 w 187"/>
                <a:gd name="T73" fmla="*/ 51 h 275"/>
                <a:gd name="T74" fmla="*/ 52 w 187"/>
                <a:gd name="T75" fmla="*/ 32 h 275"/>
                <a:gd name="T76" fmla="*/ 67 w 187"/>
                <a:gd name="T77" fmla="*/ 29 h 275"/>
                <a:gd name="T78" fmla="*/ 73 w 187"/>
                <a:gd name="T79" fmla="*/ 25 h 275"/>
                <a:gd name="T80" fmla="*/ 82 w 187"/>
                <a:gd name="T81" fmla="*/ 13 h 275"/>
                <a:gd name="T82" fmla="*/ 73 w 187"/>
                <a:gd name="T83" fmla="*/ 25 h 275"/>
                <a:gd name="T84" fmla="*/ 89 w 187"/>
                <a:gd name="T85" fmla="*/ 10 h 275"/>
                <a:gd name="T86" fmla="*/ 104 w 187"/>
                <a:gd name="T87" fmla="*/ 12 h 275"/>
                <a:gd name="T88" fmla="*/ 185 w 187"/>
                <a:gd name="T89" fmla="*/ 14 h 275"/>
                <a:gd name="T90" fmla="*/ 173 w 187"/>
                <a:gd name="T91" fmla="*/ 4 h 275"/>
                <a:gd name="T92" fmla="*/ 185 w 187"/>
                <a:gd name="T93" fmla="*/ 14 h 275"/>
                <a:gd name="T94" fmla="*/ 109 w 187"/>
                <a:gd name="T95" fmla="*/ 4 h 275"/>
                <a:gd name="T96" fmla="*/ 124 w 187"/>
                <a:gd name="T97" fmla="*/ 8 h 275"/>
                <a:gd name="T98" fmla="*/ 165 w 187"/>
                <a:gd name="T99" fmla="*/ 9 h 275"/>
                <a:gd name="T100" fmla="*/ 152 w 187"/>
                <a:gd name="T101" fmla="*/ 1 h 275"/>
                <a:gd name="T102" fmla="*/ 165 w 187"/>
                <a:gd name="T103" fmla="*/ 9 h 275"/>
                <a:gd name="T104" fmla="*/ 131 w 187"/>
                <a:gd name="T105" fmla="*/ 1 h 275"/>
                <a:gd name="T106" fmla="*/ 145 w 187"/>
                <a:gd name="T107" fmla="*/ 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 h="275">
                  <a:moveTo>
                    <a:pt x="97" y="275"/>
                  </a:moveTo>
                  <a:cubicBezTo>
                    <a:pt x="93" y="273"/>
                    <a:pt x="88" y="272"/>
                    <a:pt x="83" y="270"/>
                  </a:cubicBezTo>
                  <a:cubicBezTo>
                    <a:pt x="86" y="264"/>
                    <a:pt x="86" y="264"/>
                    <a:pt x="86" y="264"/>
                  </a:cubicBezTo>
                  <a:cubicBezTo>
                    <a:pt x="90" y="266"/>
                    <a:pt x="95" y="267"/>
                    <a:pt x="99" y="269"/>
                  </a:cubicBezTo>
                  <a:lnTo>
                    <a:pt x="97" y="275"/>
                  </a:lnTo>
                  <a:close/>
                  <a:moveTo>
                    <a:pt x="77" y="267"/>
                  </a:moveTo>
                  <a:cubicBezTo>
                    <a:pt x="73" y="264"/>
                    <a:pt x="69" y="262"/>
                    <a:pt x="65" y="259"/>
                  </a:cubicBezTo>
                  <a:cubicBezTo>
                    <a:pt x="68" y="254"/>
                    <a:pt x="68" y="254"/>
                    <a:pt x="68" y="254"/>
                  </a:cubicBezTo>
                  <a:cubicBezTo>
                    <a:pt x="72" y="257"/>
                    <a:pt x="76" y="259"/>
                    <a:pt x="80" y="261"/>
                  </a:cubicBezTo>
                  <a:lnTo>
                    <a:pt x="77" y="267"/>
                  </a:lnTo>
                  <a:close/>
                  <a:moveTo>
                    <a:pt x="59" y="255"/>
                  </a:moveTo>
                  <a:cubicBezTo>
                    <a:pt x="55" y="253"/>
                    <a:pt x="52" y="250"/>
                    <a:pt x="49" y="248"/>
                  </a:cubicBezTo>
                  <a:cubicBezTo>
                    <a:pt x="48" y="246"/>
                    <a:pt x="48" y="246"/>
                    <a:pt x="48" y="246"/>
                  </a:cubicBezTo>
                  <a:cubicBezTo>
                    <a:pt x="52" y="242"/>
                    <a:pt x="52" y="242"/>
                    <a:pt x="52" y="242"/>
                  </a:cubicBezTo>
                  <a:cubicBezTo>
                    <a:pt x="53" y="243"/>
                    <a:pt x="53" y="243"/>
                    <a:pt x="53" y="243"/>
                  </a:cubicBezTo>
                  <a:cubicBezTo>
                    <a:pt x="56" y="245"/>
                    <a:pt x="59" y="248"/>
                    <a:pt x="63" y="250"/>
                  </a:cubicBezTo>
                  <a:lnTo>
                    <a:pt x="59" y="255"/>
                  </a:lnTo>
                  <a:close/>
                  <a:moveTo>
                    <a:pt x="42" y="241"/>
                  </a:moveTo>
                  <a:cubicBezTo>
                    <a:pt x="39" y="238"/>
                    <a:pt x="36" y="234"/>
                    <a:pt x="33" y="231"/>
                  </a:cubicBezTo>
                  <a:cubicBezTo>
                    <a:pt x="38" y="227"/>
                    <a:pt x="38" y="227"/>
                    <a:pt x="38" y="227"/>
                  </a:cubicBezTo>
                  <a:cubicBezTo>
                    <a:pt x="41" y="230"/>
                    <a:pt x="44" y="234"/>
                    <a:pt x="47" y="237"/>
                  </a:cubicBezTo>
                  <a:lnTo>
                    <a:pt x="42" y="241"/>
                  </a:lnTo>
                  <a:close/>
                  <a:moveTo>
                    <a:pt x="28" y="225"/>
                  </a:moveTo>
                  <a:cubicBezTo>
                    <a:pt x="25" y="221"/>
                    <a:pt x="23" y="217"/>
                    <a:pt x="20" y="213"/>
                  </a:cubicBezTo>
                  <a:cubicBezTo>
                    <a:pt x="26" y="210"/>
                    <a:pt x="26" y="210"/>
                    <a:pt x="26" y="210"/>
                  </a:cubicBezTo>
                  <a:cubicBezTo>
                    <a:pt x="28" y="214"/>
                    <a:pt x="31" y="218"/>
                    <a:pt x="33" y="221"/>
                  </a:cubicBezTo>
                  <a:lnTo>
                    <a:pt x="28" y="225"/>
                  </a:lnTo>
                  <a:close/>
                  <a:moveTo>
                    <a:pt x="17" y="207"/>
                  </a:moveTo>
                  <a:cubicBezTo>
                    <a:pt x="15" y="203"/>
                    <a:pt x="13" y="198"/>
                    <a:pt x="11" y="194"/>
                  </a:cubicBezTo>
                  <a:cubicBezTo>
                    <a:pt x="17" y="192"/>
                    <a:pt x="17" y="192"/>
                    <a:pt x="17" y="192"/>
                  </a:cubicBezTo>
                  <a:cubicBezTo>
                    <a:pt x="18" y="196"/>
                    <a:pt x="20" y="200"/>
                    <a:pt x="22" y="204"/>
                  </a:cubicBezTo>
                  <a:lnTo>
                    <a:pt x="17" y="207"/>
                  </a:lnTo>
                  <a:close/>
                  <a:moveTo>
                    <a:pt x="8" y="187"/>
                  </a:moveTo>
                  <a:cubicBezTo>
                    <a:pt x="7" y="183"/>
                    <a:pt x="5" y="178"/>
                    <a:pt x="4" y="174"/>
                  </a:cubicBezTo>
                  <a:cubicBezTo>
                    <a:pt x="10" y="172"/>
                    <a:pt x="10" y="172"/>
                    <a:pt x="10" y="172"/>
                  </a:cubicBezTo>
                  <a:cubicBezTo>
                    <a:pt x="12" y="177"/>
                    <a:pt x="13" y="181"/>
                    <a:pt x="14" y="185"/>
                  </a:cubicBezTo>
                  <a:lnTo>
                    <a:pt x="8" y="187"/>
                  </a:lnTo>
                  <a:close/>
                  <a:moveTo>
                    <a:pt x="3" y="167"/>
                  </a:moveTo>
                  <a:cubicBezTo>
                    <a:pt x="2" y="162"/>
                    <a:pt x="1" y="157"/>
                    <a:pt x="1" y="152"/>
                  </a:cubicBezTo>
                  <a:cubicBezTo>
                    <a:pt x="7" y="152"/>
                    <a:pt x="7" y="152"/>
                    <a:pt x="7" y="152"/>
                  </a:cubicBezTo>
                  <a:cubicBezTo>
                    <a:pt x="8" y="156"/>
                    <a:pt x="8" y="161"/>
                    <a:pt x="9" y="165"/>
                  </a:cubicBezTo>
                  <a:lnTo>
                    <a:pt x="3" y="167"/>
                  </a:lnTo>
                  <a:close/>
                  <a:moveTo>
                    <a:pt x="1" y="145"/>
                  </a:moveTo>
                  <a:cubicBezTo>
                    <a:pt x="1" y="144"/>
                    <a:pt x="0" y="142"/>
                    <a:pt x="0" y="141"/>
                  </a:cubicBezTo>
                  <a:cubicBezTo>
                    <a:pt x="0" y="138"/>
                    <a:pt x="1" y="134"/>
                    <a:pt x="1" y="131"/>
                  </a:cubicBezTo>
                  <a:cubicBezTo>
                    <a:pt x="7" y="131"/>
                    <a:pt x="7" y="131"/>
                    <a:pt x="7" y="131"/>
                  </a:cubicBezTo>
                  <a:cubicBezTo>
                    <a:pt x="7" y="135"/>
                    <a:pt x="7" y="138"/>
                    <a:pt x="7" y="141"/>
                  </a:cubicBezTo>
                  <a:cubicBezTo>
                    <a:pt x="7" y="142"/>
                    <a:pt x="7" y="144"/>
                    <a:pt x="7" y="145"/>
                  </a:cubicBezTo>
                  <a:lnTo>
                    <a:pt x="1" y="145"/>
                  </a:lnTo>
                  <a:close/>
                  <a:moveTo>
                    <a:pt x="8" y="125"/>
                  </a:moveTo>
                  <a:cubicBezTo>
                    <a:pt x="2" y="124"/>
                    <a:pt x="2" y="124"/>
                    <a:pt x="2" y="124"/>
                  </a:cubicBezTo>
                  <a:cubicBezTo>
                    <a:pt x="2" y="119"/>
                    <a:pt x="3" y="114"/>
                    <a:pt x="4" y="110"/>
                  </a:cubicBezTo>
                  <a:cubicBezTo>
                    <a:pt x="10" y="111"/>
                    <a:pt x="10" y="111"/>
                    <a:pt x="10" y="111"/>
                  </a:cubicBezTo>
                  <a:cubicBezTo>
                    <a:pt x="9" y="116"/>
                    <a:pt x="8" y="120"/>
                    <a:pt x="8" y="125"/>
                  </a:cubicBezTo>
                  <a:close/>
                  <a:moveTo>
                    <a:pt x="12" y="105"/>
                  </a:moveTo>
                  <a:cubicBezTo>
                    <a:pt x="6" y="103"/>
                    <a:pt x="6" y="103"/>
                    <a:pt x="6" y="103"/>
                  </a:cubicBezTo>
                  <a:cubicBezTo>
                    <a:pt x="7" y="98"/>
                    <a:pt x="9" y="94"/>
                    <a:pt x="10" y="89"/>
                  </a:cubicBezTo>
                  <a:cubicBezTo>
                    <a:pt x="16" y="92"/>
                    <a:pt x="16" y="92"/>
                    <a:pt x="16" y="92"/>
                  </a:cubicBezTo>
                  <a:cubicBezTo>
                    <a:pt x="15" y="96"/>
                    <a:pt x="13" y="100"/>
                    <a:pt x="12" y="105"/>
                  </a:cubicBezTo>
                  <a:close/>
                  <a:moveTo>
                    <a:pt x="19" y="85"/>
                  </a:moveTo>
                  <a:cubicBezTo>
                    <a:pt x="13" y="83"/>
                    <a:pt x="13" y="83"/>
                    <a:pt x="13" y="83"/>
                  </a:cubicBezTo>
                  <a:cubicBezTo>
                    <a:pt x="15" y="78"/>
                    <a:pt x="17" y="74"/>
                    <a:pt x="20" y="70"/>
                  </a:cubicBezTo>
                  <a:cubicBezTo>
                    <a:pt x="25" y="73"/>
                    <a:pt x="25" y="73"/>
                    <a:pt x="25" y="73"/>
                  </a:cubicBezTo>
                  <a:cubicBezTo>
                    <a:pt x="23" y="77"/>
                    <a:pt x="21" y="81"/>
                    <a:pt x="19" y="85"/>
                  </a:cubicBezTo>
                  <a:close/>
                  <a:moveTo>
                    <a:pt x="29" y="67"/>
                  </a:moveTo>
                  <a:cubicBezTo>
                    <a:pt x="24" y="64"/>
                    <a:pt x="24" y="64"/>
                    <a:pt x="24" y="64"/>
                  </a:cubicBezTo>
                  <a:cubicBezTo>
                    <a:pt x="26" y="60"/>
                    <a:pt x="29" y="56"/>
                    <a:pt x="32" y="52"/>
                  </a:cubicBezTo>
                  <a:cubicBezTo>
                    <a:pt x="37" y="56"/>
                    <a:pt x="37" y="56"/>
                    <a:pt x="37" y="56"/>
                  </a:cubicBezTo>
                  <a:cubicBezTo>
                    <a:pt x="34" y="60"/>
                    <a:pt x="31" y="64"/>
                    <a:pt x="29" y="67"/>
                  </a:cubicBezTo>
                  <a:close/>
                  <a:moveTo>
                    <a:pt x="41" y="51"/>
                  </a:moveTo>
                  <a:cubicBezTo>
                    <a:pt x="37" y="47"/>
                    <a:pt x="37" y="47"/>
                    <a:pt x="37" y="47"/>
                  </a:cubicBezTo>
                  <a:cubicBezTo>
                    <a:pt x="40" y="43"/>
                    <a:pt x="43" y="40"/>
                    <a:pt x="47" y="37"/>
                  </a:cubicBezTo>
                  <a:cubicBezTo>
                    <a:pt x="51" y="41"/>
                    <a:pt x="51" y="41"/>
                    <a:pt x="51" y="41"/>
                  </a:cubicBezTo>
                  <a:cubicBezTo>
                    <a:pt x="48" y="44"/>
                    <a:pt x="44" y="48"/>
                    <a:pt x="41" y="51"/>
                  </a:cubicBezTo>
                  <a:close/>
                  <a:moveTo>
                    <a:pt x="56" y="37"/>
                  </a:moveTo>
                  <a:cubicBezTo>
                    <a:pt x="52" y="32"/>
                    <a:pt x="52" y="32"/>
                    <a:pt x="52" y="32"/>
                  </a:cubicBezTo>
                  <a:cubicBezTo>
                    <a:pt x="56" y="29"/>
                    <a:pt x="60" y="26"/>
                    <a:pt x="64" y="24"/>
                  </a:cubicBezTo>
                  <a:cubicBezTo>
                    <a:pt x="67" y="29"/>
                    <a:pt x="67" y="29"/>
                    <a:pt x="67" y="29"/>
                  </a:cubicBezTo>
                  <a:cubicBezTo>
                    <a:pt x="63" y="31"/>
                    <a:pt x="60" y="34"/>
                    <a:pt x="56" y="37"/>
                  </a:cubicBezTo>
                  <a:close/>
                  <a:moveTo>
                    <a:pt x="73" y="25"/>
                  </a:moveTo>
                  <a:cubicBezTo>
                    <a:pt x="70" y="20"/>
                    <a:pt x="70" y="20"/>
                    <a:pt x="70" y="20"/>
                  </a:cubicBezTo>
                  <a:cubicBezTo>
                    <a:pt x="74" y="17"/>
                    <a:pt x="78" y="15"/>
                    <a:pt x="82" y="13"/>
                  </a:cubicBezTo>
                  <a:cubicBezTo>
                    <a:pt x="85" y="19"/>
                    <a:pt x="85" y="19"/>
                    <a:pt x="85" y="19"/>
                  </a:cubicBezTo>
                  <a:cubicBezTo>
                    <a:pt x="81" y="21"/>
                    <a:pt x="77" y="23"/>
                    <a:pt x="73" y="25"/>
                  </a:cubicBezTo>
                  <a:close/>
                  <a:moveTo>
                    <a:pt x="91" y="16"/>
                  </a:moveTo>
                  <a:cubicBezTo>
                    <a:pt x="89" y="10"/>
                    <a:pt x="89" y="10"/>
                    <a:pt x="89" y="10"/>
                  </a:cubicBezTo>
                  <a:cubicBezTo>
                    <a:pt x="93" y="9"/>
                    <a:pt x="98" y="7"/>
                    <a:pt x="103" y="6"/>
                  </a:cubicBezTo>
                  <a:cubicBezTo>
                    <a:pt x="104" y="12"/>
                    <a:pt x="104" y="12"/>
                    <a:pt x="104" y="12"/>
                  </a:cubicBezTo>
                  <a:cubicBezTo>
                    <a:pt x="100" y="13"/>
                    <a:pt x="96" y="14"/>
                    <a:pt x="91" y="16"/>
                  </a:cubicBezTo>
                  <a:close/>
                  <a:moveTo>
                    <a:pt x="185" y="14"/>
                  </a:moveTo>
                  <a:cubicBezTo>
                    <a:pt x="181" y="12"/>
                    <a:pt x="176" y="11"/>
                    <a:pt x="172" y="10"/>
                  </a:cubicBezTo>
                  <a:cubicBezTo>
                    <a:pt x="173" y="4"/>
                    <a:pt x="173" y="4"/>
                    <a:pt x="173" y="4"/>
                  </a:cubicBezTo>
                  <a:cubicBezTo>
                    <a:pt x="178" y="5"/>
                    <a:pt x="183" y="6"/>
                    <a:pt x="187" y="8"/>
                  </a:cubicBezTo>
                  <a:lnTo>
                    <a:pt x="185" y="14"/>
                  </a:lnTo>
                  <a:close/>
                  <a:moveTo>
                    <a:pt x="111" y="10"/>
                  </a:moveTo>
                  <a:cubicBezTo>
                    <a:pt x="109" y="4"/>
                    <a:pt x="109" y="4"/>
                    <a:pt x="109" y="4"/>
                  </a:cubicBezTo>
                  <a:cubicBezTo>
                    <a:pt x="114" y="3"/>
                    <a:pt x="119" y="2"/>
                    <a:pt x="124" y="1"/>
                  </a:cubicBezTo>
                  <a:cubicBezTo>
                    <a:pt x="124" y="8"/>
                    <a:pt x="124" y="8"/>
                    <a:pt x="124" y="8"/>
                  </a:cubicBezTo>
                  <a:cubicBezTo>
                    <a:pt x="120" y="8"/>
                    <a:pt x="115" y="9"/>
                    <a:pt x="111" y="10"/>
                  </a:cubicBezTo>
                  <a:close/>
                  <a:moveTo>
                    <a:pt x="165" y="9"/>
                  </a:moveTo>
                  <a:cubicBezTo>
                    <a:pt x="161" y="8"/>
                    <a:pt x="156" y="7"/>
                    <a:pt x="152" y="7"/>
                  </a:cubicBezTo>
                  <a:cubicBezTo>
                    <a:pt x="152" y="1"/>
                    <a:pt x="152" y="1"/>
                    <a:pt x="152" y="1"/>
                  </a:cubicBezTo>
                  <a:cubicBezTo>
                    <a:pt x="157" y="1"/>
                    <a:pt x="162" y="2"/>
                    <a:pt x="166" y="2"/>
                  </a:cubicBezTo>
                  <a:lnTo>
                    <a:pt x="165" y="9"/>
                  </a:lnTo>
                  <a:close/>
                  <a:moveTo>
                    <a:pt x="131" y="7"/>
                  </a:moveTo>
                  <a:cubicBezTo>
                    <a:pt x="131" y="1"/>
                    <a:pt x="131" y="1"/>
                    <a:pt x="131" y="1"/>
                  </a:cubicBezTo>
                  <a:cubicBezTo>
                    <a:pt x="135" y="0"/>
                    <a:pt x="140" y="0"/>
                    <a:pt x="145" y="0"/>
                  </a:cubicBezTo>
                  <a:cubicBezTo>
                    <a:pt x="145" y="7"/>
                    <a:pt x="145" y="7"/>
                    <a:pt x="145" y="7"/>
                  </a:cubicBezTo>
                  <a:cubicBezTo>
                    <a:pt x="140" y="6"/>
                    <a:pt x="136" y="7"/>
                    <a:pt x="13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24" name="Big Wheel 1"/>
          <p:cNvGrpSpPr/>
          <p:nvPr userDrawn="1"/>
        </p:nvGrpSpPr>
        <p:grpSpPr bwMode="black">
          <a:xfrm>
            <a:off x="6378346" y="5198285"/>
            <a:ext cx="450759" cy="418001"/>
            <a:chOff x="1573213" y="2958346"/>
            <a:chExt cx="546100" cy="506413"/>
          </a:xfrm>
          <a:solidFill>
            <a:schemeClr val="accent4"/>
          </a:solidFill>
        </p:grpSpPr>
        <p:sp>
          <p:nvSpPr>
            <p:cNvPr id="25" name="Freeform 18"/>
            <p:cNvSpPr>
              <a:spLocks noEditPoints="1"/>
            </p:cNvSpPr>
            <p:nvPr userDrawn="1"/>
          </p:nvSpPr>
          <p:spPr bwMode="black">
            <a:xfrm>
              <a:off x="1573213" y="2958346"/>
              <a:ext cx="546100" cy="506413"/>
            </a:xfrm>
            <a:custGeom>
              <a:avLst/>
              <a:gdLst>
                <a:gd name="T0" fmla="*/ 104 w 200"/>
                <a:gd name="T1" fmla="*/ 186 h 186"/>
                <a:gd name="T2" fmla="*/ 104 w 200"/>
                <a:gd name="T3" fmla="*/ 186 h 186"/>
                <a:gd name="T4" fmla="*/ 14 w 200"/>
                <a:gd name="T5" fmla="*/ 118 h 186"/>
                <a:gd name="T6" fmla="*/ 79 w 200"/>
                <a:gd name="T7" fmla="*/ 4 h 186"/>
                <a:gd name="T8" fmla="*/ 104 w 200"/>
                <a:gd name="T9" fmla="*/ 0 h 186"/>
                <a:gd name="T10" fmla="*/ 193 w 200"/>
                <a:gd name="T11" fmla="*/ 68 h 186"/>
                <a:gd name="T12" fmla="*/ 185 w 200"/>
                <a:gd name="T13" fmla="*/ 139 h 186"/>
                <a:gd name="T14" fmla="*/ 129 w 200"/>
                <a:gd name="T15" fmla="*/ 183 h 186"/>
                <a:gd name="T16" fmla="*/ 104 w 200"/>
                <a:gd name="T17" fmla="*/ 186 h 186"/>
                <a:gd name="T18" fmla="*/ 104 w 200"/>
                <a:gd name="T19" fmla="*/ 9 h 186"/>
                <a:gd name="T20" fmla="*/ 81 w 200"/>
                <a:gd name="T21" fmla="*/ 12 h 186"/>
                <a:gd name="T22" fmla="*/ 23 w 200"/>
                <a:gd name="T23" fmla="*/ 116 h 186"/>
                <a:gd name="T24" fmla="*/ 104 w 200"/>
                <a:gd name="T25" fmla="*/ 177 h 186"/>
                <a:gd name="T26" fmla="*/ 104 w 200"/>
                <a:gd name="T27" fmla="*/ 177 h 186"/>
                <a:gd name="T28" fmla="*/ 127 w 200"/>
                <a:gd name="T29" fmla="*/ 174 h 186"/>
                <a:gd name="T30" fmla="*/ 177 w 200"/>
                <a:gd name="T31" fmla="*/ 134 h 186"/>
                <a:gd name="T32" fmla="*/ 185 w 200"/>
                <a:gd name="T33" fmla="*/ 71 h 186"/>
                <a:gd name="T34" fmla="*/ 104 w 200"/>
                <a:gd name="T35" fmla="*/ 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86">
                  <a:moveTo>
                    <a:pt x="104" y="186"/>
                  </a:moveTo>
                  <a:cubicBezTo>
                    <a:pt x="104" y="186"/>
                    <a:pt x="104" y="186"/>
                    <a:pt x="104" y="186"/>
                  </a:cubicBezTo>
                  <a:cubicBezTo>
                    <a:pt x="62" y="186"/>
                    <a:pt x="26" y="158"/>
                    <a:pt x="14" y="118"/>
                  </a:cubicBezTo>
                  <a:cubicBezTo>
                    <a:pt x="0" y="69"/>
                    <a:pt x="29" y="18"/>
                    <a:pt x="79" y="4"/>
                  </a:cubicBezTo>
                  <a:cubicBezTo>
                    <a:pt x="87" y="1"/>
                    <a:pt x="95" y="0"/>
                    <a:pt x="104" y="0"/>
                  </a:cubicBezTo>
                  <a:cubicBezTo>
                    <a:pt x="145" y="0"/>
                    <a:pt x="182" y="28"/>
                    <a:pt x="193" y="68"/>
                  </a:cubicBezTo>
                  <a:cubicBezTo>
                    <a:pt x="200" y="92"/>
                    <a:pt x="197" y="117"/>
                    <a:pt x="185" y="139"/>
                  </a:cubicBezTo>
                  <a:cubicBezTo>
                    <a:pt x="173" y="160"/>
                    <a:pt x="153" y="176"/>
                    <a:pt x="129" y="183"/>
                  </a:cubicBezTo>
                  <a:cubicBezTo>
                    <a:pt x="121" y="185"/>
                    <a:pt x="112" y="186"/>
                    <a:pt x="104" y="186"/>
                  </a:cubicBezTo>
                  <a:close/>
                  <a:moveTo>
                    <a:pt x="104" y="9"/>
                  </a:moveTo>
                  <a:cubicBezTo>
                    <a:pt x="96" y="9"/>
                    <a:pt x="88" y="10"/>
                    <a:pt x="81" y="12"/>
                  </a:cubicBezTo>
                  <a:cubicBezTo>
                    <a:pt x="36" y="25"/>
                    <a:pt x="10" y="71"/>
                    <a:pt x="23" y="116"/>
                  </a:cubicBezTo>
                  <a:cubicBezTo>
                    <a:pt x="33" y="152"/>
                    <a:pt x="66" y="177"/>
                    <a:pt x="104" y="177"/>
                  </a:cubicBezTo>
                  <a:cubicBezTo>
                    <a:pt x="104" y="177"/>
                    <a:pt x="104" y="177"/>
                    <a:pt x="104" y="177"/>
                  </a:cubicBezTo>
                  <a:cubicBezTo>
                    <a:pt x="111" y="177"/>
                    <a:pt x="119" y="176"/>
                    <a:pt x="127" y="174"/>
                  </a:cubicBezTo>
                  <a:cubicBezTo>
                    <a:pt x="148" y="168"/>
                    <a:pt x="166" y="154"/>
                    <a:pt x="177" y="134"/>
                  </a:cubicBezTo>
                  <a:cubicBezTo>
                    <a:pt x="188" y="115"/>
                    <a:pt x="191" y="92"/>
                    <a:pt x="185" y="71"/>
                  </a:cubicBezTo>
                  <a:cubicBezTo>
                    <a:pt x="174" y="34"/>
                    <a:pt x="141" y="9"/>
                    <a:pt x="10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nvGrpSpPr>
            <p:cNvPr id="26" name="Pin wheel 1"/>
            <p:cNvGrpSpPr/>
            <p:nvPr userDrawn="1"/>
          </p:nvGrpSpPr>
          <p:grpSpPr bwMode="black">
            <a:xfrm>
              <a:off x="1697038" y="3050421"/>
              <a:ext cx="322263" cy="325438"/>
              <a:chOff x="1697038" y="3050421"/>
              <a:chExt cx="322263" cy="325438"/>
            </a:xfrm>
            <a:grpFill/>
          </p:grpSpPr>
          <p:sp>
            <p:nvSpPr>
              <p:cNvPr id="27" name="Freeform 19"/>
              <p:cNvSpPr>
                <a:spLocks noEditPoints="1"/>
              </p:cNvSpPr>
              <p:nvPr userDrawn="1"/>
            </p:nvSpPr>
            <p:spPr bwMode="black">
              <a:xfrm>
                <a:off x="1795463" y="3152021"/>
                <a:ext cx="122238" cy="122238"/>
              </a:xfrm>
              <a:custGeom>
                <a:avLst/>
                <a:gdLst>
                  <a:gd name="T0" fmla="*/ 23 w 45"/>
                  <a:gd name="T1" fmla="*/ 45 h 45"/>
                  <a:gd name="T2" fmla="*/ 0 w 45"/>
                  <a:gd name="T3" fmla="*/ 22 h 45"/>
                  <a:gd name="T4" fmla="*/ 7 w 45"/>
                  <a:gd name="T5" fmla="*/ 6 h 45"/>
                  <a:gd name="T6" fmla="*/ 23 w 45"/>
                  <a:gd name="T7" fmla="*/ 0 h 45"/>
                  <a:gd name="T8" fmla="*/ 45 w 45"/>
                  <a:gd name="T9" fmla="*/ 22 h 45"/>
                  <a:gd name="T10" fmla="*/ 23 w 45"/>
                  <a:gd name="T11" fmla="*/ 45 h 45"/>
                  <a:gd name="T12" fmla="*/ 23 w 45"/>
                  <a:gd name="T13" fmla="*/ 6 h 45"/>
                  <a:gd name="T14" fmla="*/ 11 w 45"/>
                  <a:gd name="T15" fmla="*/ 11 h 45"/>
                  <a:gd name="T16" fmla="*/ 7 w 45"/>
                  <a:gd name="T17" fmla="*/ 22 h 45"/>
                  <a:gd name="T18" fmla="*/ 23 w 45"/>
                  <a:gd name="T19" fmla="*/ 38 h 45"/>
                  <a:gd name="T20" fmla="*/ 23 w 45"/>
                  <a:gd name="T21" fmla="*/ 41 h 45"/>
                  <a:gd name="T22" fmla="*/ 23 w 45"/>
                  <a:gd name="T23" fmla="*/ 38 h 45"/>
                  <a:gd name="T24" fmla="*/ 39 w 45"/>
                  <a:gd name="T25" fmla="*/ 22 h 45"/>
                  <a:gd name="T26" fmla="*/ 23 w 45"/>
                  <a:gd name="T27"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45">
                    <a:moveTo>
                      <a:pt x="23" y="45"/>
                    </a:moveTo>
                    <a:cubicBezTo>
                      <a:pt x="10" y="45"/>
                      <a:pt x="0" y="35"/>
                      <a:pt x="0" y="22"/>
                    </a:cubicBezTo>
                    <a:cubicBezTo>
                      <a:pt x="0" y="16"/>
                      <a:pt x="3" y="11"/>
                      <a:pt x="7" y="6"/>
                    </a:cubicBezTo>
                    <a:cubicBezTo>
                      <a:pt x="11" y="2"/>
                      <a:pt x="17" y="0"/>
                      <a:pt x="23" y="0"/>
                    </a:cubicBezTo>
                    <a:cubicBezTo>
                      <a:pt x="35" y="0"/>
                      <a:pt x="45" y="10"/>
                      <a:pt x="45" y="22"/>
                    </a:cubicBezTo>
                    <a:cubicBezTo>
                      <a:pt x="45" y="35"/>
                      <a:pt x="35" y="45"/>
                      <a:pt x="23" y="45"/>
                    </a:cubicBezTo>
                    <a:close/>
                    <a:moveTo>
                      <a:pt x="23" y="6"/>
                    </a:moveTo>
                    <a:cubicBezTo>
                      <a:pt x="18" y="6"/>
                      <a:pt x="14" y="8"/>
                      <a:pt x="11" y="11"/>
                    </a:cubicBezTo>
                    <a:cubicBezTo>
                      <a:pt x="8" y="14"/>
                      <a:pt x="7" y="18"/>
                      <a:pt x="7" y="22"/>
                    </a:cubicBezTo>
                    <a:cubicBezTo>
                      <a:pt x="7" y="31"/>
                      <a:pt x="14" y="38"/>
                      <a:pt x="23" y="38"/>
                    </a:cubicBezTo>
                    <a:cubicBezTo>
                      <a:pt x="23" y="41"/>
                      <a:pt x="23" y="41"/>
                      <a:pt x="23" y="41"/>
                    </a:cubicBezTo>
                    <a:cubicBezTo>
                      <a:pt x="23" y="38"/>
                      <a:pt x="23" y="38"/>
                      <a:pt x="23" y="38"/>
                    </a:cubicBezTo>
                    <a:cubicBezTo>
                      <a:pt x="32" y="38"/>
                      <a:pt x="39" y="31"/>
                      <a:pt x="39" y="22"/>
                    </a:cubicBezTo>
                    <a:cubicBezTo>
                      <a:pt x="39" y="13"/>
                      <a:pt x="32" y="6"/>
                      <a:pt x="2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8" name="Rectangle 20"/>
              <p:cNvSpPr>
                <a:spLocks noChangeArrowheads="1"/>
              </p:cNvSpPr>
              <p:nvPr userDrawn="1"/>
            </p:nvSpPr>
            <p:spPr bwMode="black">
              <a:xfrm>
                <a:off x="1697038" y="3202821"/>
                <a:ext cx="730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29" name="Rectangle 21"/>
              <p:cNvSpPr>
                <a:spLocks noChangeArrowheads="1"/>
              </p:cNvSpPr>
              <p:nvPr userDrawn="1"/>
            </p:nvSpPr>
            <p:spPr bwMode="black">
              <a:xfrm>
                <a:off x="1944688" y="3202821"/>
                <a:ext cx="7461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0" name="Rectangle 22"/>
              <p:cNvSpPr>
                <a:spLocks noChangeArrowheads="1"/>
              </p:cNvSpPr>
              <p:nvPr userDrawn="1"/>
            </p:nvSpPr>
            <p:spPr bwMode="black">
              <a:xfrm>
                <a:off x="1849438" y="3299659"/>
                <a:ext cx="15875"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1" name="Rectangle 23"/>
              <p:cNvSpPr>
                <a:spLocks noChangeArrowheads="1"/>
              </p:cNvSpPr>
              <p:nvPr userDrawn="1"/>
            </p:nvSpPr>
            <p:spPr bwMode="black">
              <a:xfrm>
                <a:off x="1849438" y="3050421"/>
                <a:ext cx="15875"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2" name="Freeform 24"/>
              <p:cNvSpPr>
                <a:spLocks/>
              </p:cNvSpPr>
              <p:nvPr userDrawn="1"/>
            </p:nvSpPr>
            <p:spPr bwMode="black">
              <a:xfrm>
                <a:off x="1912938" y="3269496"/>
                <a:ext cx="53975" cy="50800"/>
              </a:xfrm>
              <a:custGeom>
                <a:avLst/>
                <a:gdLst>
                  <a:gd name="T0" fmla="*/ 25 w 34"/>
                  <a:gd name="T1" fmla="*/ 32 h 32"/>
                  <a:gd name="T2" fmla="*/ 0 w 34"/>
                  <a:gd name="T3" fmla="*/ 6 h 32"/>
                  <a:gd name="T4" fmla="*/ 8 w 34"/>
                  <a:gd name="T5" fmla="*/ 0 h 32"/>
                  <a:gd name="T6" fmla="*/ 34 w 34"/>
                  <a:gd name="T7" fmla="*/ 25 h 32"/>
                  <a:gd name="T8" fmla="*/ 25 w 34"/>
                  <a:gd name="T9" fmla="*/ 32 h 32"/>
                </a:gdLst>
                <a:ahLst/>
                <a:cxnLst>
                  <a:cxn ang="0">
                    <a:pos x="T0" y="T1"/>
                  </a:cxn>
                  <a:cxn ang="0">
                    <a:pos x="T2" y="T3"/>
                  </a:cxn>
                  <a:cxn ang="0">
                    <a:pos x="T4" y="T5"/>
                  </a:cxn>
                  <a:cxn ang="0">
                    <a:pos x="T6" y="T7"/>
                  </a:cxn>
                  <a:cxn ang="0">
                    <a:pos x="T8" y="T9"/>
                  </a:cxn>
                </a:cxnLst>
                <a:rect l="0" t="0" r="r" b="b"/>
                <a:pathLst>
                  <a:path w="34" h="32">
                    <a:moveTo>
                      <a:pt x="25" y="32"/>
                    </a:moveTo>
                    <a:lnTo>
                      <a:pt x="0" y="6"/>
                    </a:lnTo>
                    <a:lnTo>
                      <a:pt x="8" y="0"/>
                    </a:lnTo>
                    <a:lnTo>
                      <a:pt x="34" y="25"/>
                    </a:lnTo>
                    <a:lnTo>
                      <a:pt x="25"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3" name="Freeform 25"/>
              <p:cNvSpPr>
                <a:spLocks/>
              </p:cNvSpPr>
              <p:nvPr userDrawn="1"/>
            </p:nvSpPr>
            <p:spPr bwMode="black">
              <a:xfrm>
                <a:off x="1747838" y="3102809"/>
                <a:ext cx="52388" cy="53975"/>
              </a:xfrm>
              <a:custGeom>
                <a:avLst/>
                <a:gdLst>
                  <a:gd name="T0" fmla="*/ 26 w 33"/>
                  <a:gd name="T1" fmla="*/ 34 h 34"/>
                  <a:gd name="T2" fmla="*/ 0 w 33"/>
                  <a:gd name="T3" fmla="*/ 8 h 34"/>
                  <a:gd name="T4" fmla="*/ 7 w 33"/>
                  <a:gd name="T5" fmla="*/ 0 h 34"/>
                  <a:gd name="T6" fmla="*/ 33 w 33"/>
                  <a:gd name="T7" fmla="*/ 26 h 34"/>
                  <a:gd name="T8" fmla="*/ 26 w 33"/>
                  <a:gd name="T9" fmla="*/ 34 h 34"/>
                </a:gdLst>
                <a:ahLst/>
                <a:cxnLst>
                  <a:cxn ang="0">
                    <a:pos x="T0" y="T1"/>
                  </a:cxn>
                  <a:cxn ang="0">
                    <a:pos x="T2" y="T3"/>
                  </a:cxn>
                  <a:cxn ang="0">
                    <a:pos x="T4" y="T5"/>
                  </a:cxn>
                  <a:cxn ang="0">
                    <a:pos x="T6" y="T7"/>
                  </a:cxn>
                  <a:cxn ang="0">
                    <a:pos x="T8" y="T9"/>
                  </a:cxn>
                </a:cxnLst>
                <a:rect l="0" t="0" r="r" b="b"/>
                <a:pathLst>
                  <a:path w="33" h="34">
                    <a:moveTo>
                      <a:pt x="26" y="34"/>
                    </a:moveTo>
                    <a:lnTo>
                      <a:pt x="0" y="8"/>
                    </a:lnTo>
                    <a:lnTo>
                      <a:pt x="7" y="0"/>
                    </a:lnTo>
                    <a:lnTo>
                      <a:pt x="33" y="26"/>
                    </a:lnTo>
                    <a:lnTo>
                      <a:pt x="26"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4" name="Freeform 26"/>
              <p:cNvSpPr>
                <a:spLocks/>
              </p:cNvSpPr>
              <p:nvPr userDrawn="1"/>
            </p:nvSpPr>
            <p:spPr bwMode="black">
              <a:xfrm>
                <a:off x="1912938" y="3102809"/>
                <a:ext cx="53975" cy="53975"/>
              </a:xfrm>
              <a:custGeom>
                <a:avLst/>
                <a:gdLst>
                  <a:gd name="T0" fmla="*/ 8 w 34"/>
                  <a:gd name="T1" fmla="*/ 34 h 34"/>
                  <a:gd name="T2" fmla="*/ 0 w 34"/>
                  <a:gd name="T3" fmla="*/ 26 h 34"/>
                  <a:gd name="T4" fmla="*/ 25 w 34"/>
                  <a:gd name="T5" fmla="*/ 0 h 34"/>
                  <a:gd name="T6" fmla="*/ 34 w 34"/>
                  <a:gd name="T7" fmla="*/ 8 h 34"/>
                  <a:gd name="T8" fmla="*/ 8 w 34"/>
                  <a:gd name="T9" fmla="*/ 34 h 34"/>
                </a:gdLst>
                <a:ahLst/>
                <a:cxnLst>
                  <a:cxn ang="0">
                    <a:pos x="T0" y="T1"/>
                  </a:cxn>
                  <a:cxn ang="0">
                    <a:pos x="T2" y="T3"/>
                  </a:cxn>
                  <a:cxn ang="0">
                    <a:pos x="T4" y="T5"/>
                  </a:cxn>
                  <a:cxn ang="0">
                    <a:pos x="T6" y="T7"/>
                  </a:cxn>
                  <a:cxn ang="0">
                    <a:pos x="T8" y="T9"/>
                  </a:cxn>
                </a:cxnLst>
                <a:rect l="0" t="0" r="r" b="b"/>
                <a:pathLst>
                  <a:path w="34" h="34">
                    <a:moveTo>
                      <a:pt x="8" y="34"/>
                    </a:moveTo>
                    <a:lnTo>
                      <a:pt x="0" y="26"/>
                    </a:lnTo>
                    <a:lnTo>
                      <a:pt x="25" y="0"/>
                    </a:lnTo>
                    <a:lnTo>
                      <a:pt x="34" y="8"/>
                    </a:lnTo>
                    <a:lnTo>
                      <a:pt x="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35" name="Freeform 27"/>
              <p:cNvSpPr>
                <a:spLocks/>
              </p:cNvSpPr>
              <p:nvPr userDrawn="1"/>
            </p:nvSpPr>
            <p:spPr bwMode="black">
              <a:xfrm>
                <a:off x="1747838" y="3269496"/>
                <a:ext cx="52388" cy="50800"/>
              </a:xfrm>
              <a:custGeom>
                <a:avLst/>
                <a:gdLst>
                  <a:gd name="T0" fmla="*/ 7 w 33"/>
                  <a:gd name="T1" fmla="*/ 32 h 32"/>
                  <a:gd name="T2" fmla="*/ 0 w 33"/>
                  <a:gd name="T3" fmla="*/ 25 h 32"/>
                  <a:gd name="T4" fmla="*/ 26 w 33"/>
                  <a:gd name="T5" fmla="*/ 0 h 32"/>
                  <a:gd name="T6" fmla="*/ 33 w 33"/>
                  <a:gd name="T7" fmla="*/ 6 h 32"/>
                  <a:gd name="T8" fmla="*/ 7 w 33"/>
                  <a:gd name="T9" fmla="*/ 32 h 32"/>
                </a:gdLst>
                <a:ahLst/>
                <a:cxnLst>
                  <a:cxn ang="0">
                    <a:pos x="T0" y="T1"/>
                  </a:cxn>
                  <a:cxn ang="0">
                    <a:pos x="T2" y="T3"/>
                  </a:cxn>
                  <a:cxn ang="0">
                    <a:pos x="T4" y="T5"/>
                  </a:cxn>
                  <a:cxn ang="0">
                    <a:pos x="T6" y="T7"/>
                  </a:cxn>
                  <a:cxn ang="0">
                    <a:pos x="T8" y="T9"/>
                  </a:cxn>
                </a:cxnLst>
                <a:rect l="0" t="0" r="r" b="b"/>
                <a:pathLst>
                  <a:path w="33" h="32">
                    <a:moveTo>
                      <a:pt x="7" y="32"/>
                    </a:moveTo>
                    <a:lnTo>
                      <a:pt x="0" y="25"/>
                    </a:lnTo>
                    <a:lnTo>
                      <a:pt x="26" y="0"/>
                    </a:lnTo>
                    <a:lnTo>
                      <a:pt x="33" y="6"/>
                    </a:lnTo>
                    <a:lnTo>
                      <a:pt x="7"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grpSp>
        <p:nvGrpSpPr>
          <p:cNvPr id="36" name="Small Wheel 1"/>
          <p:cNvGrpSpPr/>
          <p:nvPr userDrawn="1"/>
        </p:nvGrpSpPr>
        <p:grpSpPr bwMode="black">
          <a:xfrm>
            <a:off x="7192072" y="5765665"/>
            <a:ext cx="322345" cy="313173"/>
            <a:chOff x="2559051" y="3645734"/>
            <a:chExt cx="390525" cy="379413"/>
          </a:xfrm>
          <a:solidFill>
            <a:schemeClr val="accent4"/>
          </a:solidFill>
        </p:grpSpPr>
        <p:sp>
          <p:nvSpPr>
            <p:cNvPr id="37" name="Freeform 28"/>
            <p:cNvSpPr>
              <a:spLocks noEditPoints="1"/>
            </p:cNvSpPr>
            <p:nvPr userDrawn="1"/>
          </p:nvSpPr>
          <p:spPr bwMode="black">
            <a:xfrm>
              <a:off x="2559051" y="3645734"/>
              <a:ext cx="390525" cy="379413"/>
            </a:xfrm>
            <a:custGeom>
              <a:avLst/>
              <a:gdLst>
                <a:gd name="T0" fmla="*/ 71 w 143"/>
                <a:gd name="T1" fmla="*/ 139 h 139"/>
                <a:gd name="T2" fmla="*/ 71 w 143"/>
                <a:gd name="T3" fmla="*/ 139 h 139"/>
                <a:gd name="T4" fmla="*/ 5 w 143"/>
                <a:gd name="T5" fmla="*/ 88 h 139"/>
                <a:gd name="T6" fmla="*/ 11 w 143"/>
                <a:gd name="T7" fmla="*/ 35 h 139"/>
                <a:gd name="T8" fmla="*/ 53 w 143"/>
                <a:gd name="T9" fmla="*/ 2 h 139"/>
                <a:gd name="T10" fmla="*/ 71 w 143"/>
                <a:gd name="T11" fmla="*/ 0 h 139"/>
                <a:gd name="T12" fmla="*/ 138 w 143"/>
                <a:gd name="T13" fmla="*/ 50 h 139"/>
                <a:gd name="T14" fmla="*/ 132 w 143"/>
                <a:gd name="T15" fmla="*/ 103 h 139"/>
                <a:gd name="T16" fmla="*/ 90 w 143"/>
                <a:gd name="T17" fmla="*/ 136 h 139"/>
                <a:gd name="T18" fmla="*/ 71 w 143"/>
                <a:gd name="T19" fmla="*/ 139 h 139"/>
                <a:gd name="T20" fmla="*/ 71 w 143"/>
                <a:gd name="T21" fmla="*/ 9 h 139"/>
                <a:gd name="T22" fmla="*/ 55 w 143"/>
                <a:gd name="T23" fmla="*/ 11 h 139"/>
                <a:gd name="T24" fmla="*/ 19 w 143"/>
                <a:gd name="T25" fmla="*/ 40 h 139"/>
                <a:gd name="T26" fmla="*/ 13 w 143"/>
                <a:gd name="T27" fmla="*/ 86 h 139"/>
                <a:gd name="T28" fmla="*/ 71 w 143"/>
                <a:gd name="T29" fmla="*/ 130 h 139"/>
                <a:gd name="T30" fmla="*/ 71 w 143"/>
                <a:gd name="T31" fmla="*/ 130 h 139"/>
                <a:gd name="T32" fmla="*/ 88 w 143"/>
                <a:gd name="T33" fmla="*/ 127 h 139"/>
                <a:gd name="T34" fmla="*/ 124 w 143"/>
                <a:gd name="T35" fmla="*/ 99 h 139"/>
                <a:gd name="T36" fmla="*/ 130 w 143"/>
                <a:gd name="T37" fmla="*/ 53 h 139"/>
                <a:gd name="T38" fmla="*/ 71 w 143"/>
                <a:gd name="T39"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39">
                  <a:moveTo>
                    <a:pt x="71" y="139"/>
                  </a:moveTo>
                  <a:cubicBezTo>
                    <a:pt x="71" y="139"/>
                    <a:pt x="71" y="139"/>
                    <a:pt x="71" y="139"/>
                  </a:cubicBezTo>
                  <a:cubicBezTo>
                    <a:pt x="40" y="139"/>
                    <a:pt x="13" y="118"/>
                    <a:pt x="5" y="88"/>
                  </a:cubicBezTo>
                  <a:cubicBezTo>
                    <a:pt x="0" y="70"/>
                    <a:pt x="2" y="51"/>
                    <a:pt x="11" y="35"/>
                  </a:cubicBezTo>
                  <a:cubicBezTo>
                    <a:pt x="20" y="19"/>
                    <a:pt x="35" y="7"/>
                    <a:pt x="53" y="2"/>
                  </a:cubicBezTo>
                  <a:cubicBezTo>
                    <a:pt x="59" y="1"/>
                    <a:pt x="65" y="0"/>
                    <a:pt x="71" y="0"/>
                  </a:cubicBezTo>
                  <a:cubicBezTo>
                    <a:pt x="102" y="0"/>
                    <a:pt x="130" y="21"/>
                    <a:pt x="138" y="50"/>
                  </a:cubicBezTo>
                  <a:cubicBezTo>
                    <a:pt x="143" y="68"/>
                    <a:pt x="141" y="87"/>
                    <a:pt x="132" y="103"/>
                  </a:cubicBezTo>
                  <a:cubicBezTo>
                    <a:pt x="123" y="119"/>
                    <a:pt x="108" y="131"/>
                    <a:pt x="90" y="136"/>
                  </a:cubicBezTo>
                  <a:cubicBezTo>
                    <a:pt x="84" y="138"/>
                    <a:pt x="78" y="139"/>
                    <a:pt x="71" y="139"/>
                  </a:cubicBezTo>
                  <a:close/>
                  <a:moveTo>
                    <a:pt x="71" y="9"/>
                  </a:moveTo>
                  <a:cubicBezTo>
                    <a:pt x="66" y="9"/>
                    <a:pt x="60" y="9"/>
                    <a:pt x="55" y="11"/>
                  </a:cubicBezTo>
                  <a:cubicBezTo>
                    <a:pt x="39" y="15"/>
                    <a:pt x="27" y="26"/>
                    <a:pt x="19" y="40"/>
                  </a:cubicBezTo>
                  <a:cubicBezTo>
                    <a:pt x="11" y="54"/>
                    <a:pt x="9" y="70"/>
                    <a:pt x="13" y="86"/>
                  </a:cubicBezTo>
                  <a:cubicBezTo>
                    <a:pt x="21" y="112"/>
                    <a:pt x="44" y="130"/>
                    <a:pt x="71" y="130"/>
                  </a:cubicBezTo>
                  <a:cubicBezTo>
                    <a:pt x="71" y="130"/>
                    <a:pt x="71" y="130"/>
                    <a:pt x="71" y="130"/>
                  </a:cubicBezTo>
                  <a:cubicBezTo>
                    <a:pt x="77" y="130"/>
                    <a:pt x="82" y="129"/>
                    <a:pt x="88" y="127"/>
                  </a:cubicBezTo>
                  <a:cubicBezTo>
                    <a:pt x="103" y="123"/>
                    <a:pt x="116" y="113"/>
                    <a:pt x="124" y="99"/>
                  </a:cubicBezTo>
                  <a:cubicBezTo>
                    <a:pt x="132" y="85"/>
                    <a:pt x="134" y="68"/>
                    <a:pt x="130" y="53"/>
                  </a:cubicBezTo>
                  <a:cubicBezTo>
                    <a:pt x="122" y="27"/>
                    <a:pt x="98" y="9"/>
                    <a:pt x="7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nvGrpSpPr>
            <p:cNvPr id="38" name="Pin wheel 2"/>
            <p:cNvGrpSpPr/>
            <p:nvPr userDrawn="1"/>
          </p:nvGrpSpPr>
          <p:grpSpPr bwMode="black">
            <a:xfrm>
              <a:off x="2627313" y="3709234"/>
              <a:ext cx="254000" cy="252413"/>
              <a:chOff x="2627313" y="3709234"/>
              <a:chExt cx="254000" cy="252413"/>
            </a:xfrm>
            <a:grpFill/>
          </p:grpSpPr>
          <p:sp>
            <p:nvSpPr>
              <p:cNvPr id="39" name="Freeform 29"/>
              <p:cNvSpPr>
                <a:spLocks noEditPoints="1"/>
              </p:cNvSpPr>
              <p:nvPr userDrawn="1"/>
            </p:nvSpPr>
            <p:spPr bwMode="black">
              <a:xfrm>
                <a:off x="2709863" y="3790196"/>
                <a:ext cx="90488" cy="87313"/>
              </a:xfrm>
              <a:custGeom>
                <a:avLst/>
                <a:gdLst>
                  <a:gd name="T0" fmla="*/ 16 w 33"/>
                  <a:gd name="T1" fmla="*/ 32 h 32"/>
                  <a:gd name="T2" fmla="*/ 0 w 33"/>
                  <a:gd name="T3" fmla="*/ 16 h 32"/>
                  <a:gd name="T4" fmla="*/ 16 w 33"/>
                  <a:gd name="T5" fmla="*/ 0 h 32"/>
                  <a:gd name="T6" fmla="*/ 33 w 33"/>
                  <a:gd name="T7" fmla="*/ 16 h 32"/>
                  <a:gd name="T8" fmla="*/ 16 w 33"/>
                  <a:gd name="T9" fmla="*/ 32 h 32"/>
                  <a:gd name="T10" fmla="*/ 16 w 33"/>
                  <a:gd name="T11" fmla="*/ 6 h 32"/>
                  <a:gd name="T12" fmla="*/ 7 w 33"/>
                  <a:gd name="T13" fmla="*/ 16 h 32"/>
                  <a:gd name="T14" fmla="*/ 16 w 33"/>
                  <a:gd name="T15" fmla="*/ 26 h 32"/>
                  <a:gd name="T16" fmla="*/ 16 w 33"/>
                  <a:gd name="T17" fmla="*/ 29 h 32"/>
                  <a:gd name="T18" fmla="*/ 16 w 33"/>
                  <a:gd name="T19" fmla="*/ 26 h 32"/>
                  <a:gd name="T20" fmla="*/ 26 w 33"/>
                  <a:gd name="T21" fmla="*/ 16 h 32"/>
                  <a:gd name="T22" fmla="*/ 16 w 33"/>
                  <a:gd name="T2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2">
                    <a:moveTo>
                      <a:pt x="16" y="32"/>
                    </a:moveTo>
                    <a:cubicBezTo>
                      <a:pt x="8" y="32"/>
                      <a:pt x="0" y="25"/>
                      <a:pt x="0" y="16"/>
                    </a:cubicBezTo>
                    <a:cubicBezTo>
                      <a:pt x="0" y="7"/>
                      <a:pt x="7" y="0"/>
                      <a:pt x="16" y="0"/>
                    </a:cubicBezTo>
                    <a:cubicBezTo>
                      <a:pt x="25" y="0"/>
                      <a:pt x="33" y="7"/>
                      <a:pt x="33" y="16"/>
                    </a:cubicBezTo>
                    <a:cubicBezTo>
                      <a:pt x="33" y="25"/>
                      <a:pt x="25" y="32"/>
                      <a:pt x="16" y="32"/>
                    </a:cubicBezTo>
                    <a:close/>
                    <a:moveTo>
                      <a:pt x="16" y="6"/>
                    </a:moveTo>
                    <a:cubicBezTo>
                      <a:pt x="11" y="6"/>
                      <a:pt x="7" y="11"/>
                      <a:pt x="7" y="16"/>
                    </a:cubicBezTo>
                    <a:cubicBezTo>
                      <a:pt x="7" y="22"/>
                      <a:pt x="11" y="26"/>
                      <a:pt x="16" y="26"/>
                    </a:cubicBezTo>
                    <a:cubicBezTo>
                      <a:pt x="16" y="29"/>
                      <a:pt x="16" y="29"/>
                      <a:pt x="16" y="29"/>
                    </a:cubicBezTo>
                    <a:cubicBezTo>
                      <a:pt x="16" y="26"/>
                      <a:pt x="16" y="26"/>
                      <a:pt x="16" y="26"/>
                    </a:cubicBezTo>
                    <a:cubicBezTo>
                      <a:pt x="22" y="26"/>
                      <a:pt x="26" y="22"/>
                      <a:pt x="26" y="16"/>
                    </a:cubicBezTo>
                    <a:cubicBezTo>
                      <a:pt x="26" y="11"/>
                      <a:pt x="22" y="6"/>
                      <a:pt x="1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0" name="Rectangle 30"/>
              <p:cNvSpPr>
                <a:spLocks noChangeArrowheads="1"/>
              </p:cNvSpPr>
              <p:nvPr userDrawn="1"/>
            </p:nvSpPr>
            <p:spPr bwMode="black">
              <a:xfrm>
                <a:off x="2627313" y="3825121"/>
                <a:ext cx="571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1" name="Rectangle 31"/>
              <p:cNvSpPr>
                <a:spLocks noChangeArrowheads="1"/>
              </p:cNvSpPr>
              <p:nvPr userDrawn="1"/>
            </p:nvSpPr>
            <p:spPr bwMode="black">
              <a:xfrm>
                <a:off x="2820988" y="3825121"/>
                <a:ext cx="603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2" name="Rectangle 32"/>
              <p:cNvSpPr>
                <a:spLocks noChangeArrowheads="1"/>
              </p:cNvSpPr>
              <p:nvPr userDrawn="1"/>
            </p:nvSpPr>
            <p:spPr bwMode="black">
              <a:xfrm>
                <a:off x="2744788" y="3902909"/>
                <a:ext cx="190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3" name="Rectangle 33"/>
              <p:cNvSpPr>
                <a:spLocks noChangeArrowheads="1"/>
              </p:cNvSpPr>
              <p:nvPr userDrawn="1"/>
            </p:nvSpPr>
            <p:spPr bwMode="black">
              <a:xfrm>
                <a:off x="2744788" y="3709234"/>
                <a:ext cx="19050"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4" name="Freeform 34"/>
              <p:cNvSpPr>
                <a:spLocks/>
              </p:cNvSpPr>
              <p:nvPr userDrawn="1"/>
            </p:nvSpPr>
            <p:spPr bwMode="black">
              <a:xfrm>
                <a:off x="2797176" y="3877509"/>
                <a:ext cx="42863" cy="44450"/>
              </a:xfrm>
              <a:custGeom>
                <a:avLst/>
                <a:gdLst>
                  <a:gd name="T0" fmla="*/ 21 w 27"/>
                  <a:gd name="T1" fmla="*/ 28 h 28"/>
                  <a:gd name="T2" fmla="*/ 0 w 27"/>
                  <a:gd name="T3" fmla="*/ 7 h 28"/>
                  <a:gd name="T4" fmla="*/ 7 w 27"/>
                  <a:gd name="T5" fmla="*/ 0 h 28"/>
                  <a:gd name="T6" fmla="*/ 27 w 27"/>
                  <a:gd name="T7" fmla="*/ 21 h 28"/>
                  <a:gd name="T8" fmla="*/ 21 w 27"/>
                  <a:gd name="T9" fmla="*/ 28 h 28"/>
                </a:gdLst>
                <a:ahLst/>
                <a:cxnLst>
                  <a:cxn ang="0">
                    <a:pos x="T0" y="T1"/>
                  </a:cxn>
                  <a:cxn ang="0">
                    <a:pos x="T2" y="T3"/>
                  </a:cxn>
                  <a:cxn ang="0">
                    <a:pos x="T4" y="T5"/>
                  </a:cxn>
                  <a:cxn ang="0">
                    <a:pos x="T6" y="T7"/>
                  </a:cxn>
                  <a:cxn ang="0">
                    <a:pos x="T8" y="T9"/>
                  </a:cxn>
                </a:cxnLst>
                <a:rect l="0" t="0" r="r" b="b"/>
                <a:pathLst>
                  <a:path w="27" h="28">
                    <a:moveTo>
                      <a:pt x="21" y="28"/>
                    </a:moveTo>
                    <a:lnTo>
                      <a:pt x="0" y="7"/>
                    </a:lnTo>
                    <a:lnTo>
                      <a:pt x="7" y="0"/>
                    </a:lnTo>
                    <a:lnTo>
                      <a:pt x="27" y="21"/>
                    </a:lnTo>
                    <a:lnTo>
                      <a:pt x="2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5" name="Freeform 35"/>
              <p:cNvSpPr>
                <a:spLocks/>
              </p:cNvSpPr>
              <p:nvPr userDrawn="1"/>
            </p:nvSpPr>
            <p:spPr bwMode="black">
              <a:xfrm>
                <a:off x="2668588" y="3747334"/>
                <a:ext cx="44450" cy="46038"/>
              </a:xfrm>
              <a:custGeom>
                <a:avLst/>
                <a:gdLst>
                  <a:gd name="T0" fmla="*/ 19 w 28"/>
                  <a:gd name="T1" fmla="*/ 29 h 29"/>
                  <a:gd name="T2" fmla="*/ 0 w 28"/>
                  <a:gd name="T3" fmla="*/ 8 h 29"/>
                  <a:gd name="T4" fmla="*/ 7 w 28"/>
                  <a:gd name="T5" fmla="*/ 0 h 29"/>
                  <a:gd name="T6" fmla="*/ 28 w 28"/>
                  <a:gd name="T7" fmla="*/ 20 h 29"/>
                  <a:gd name="T8" fmla="*/ 19 w 28"/>
                  <a:gd name="T9" fmla="*/ 29 h 29"/>
                </a:gdLst>
                <a:ahLst/>
                <a:cxnLst>
                  <a:cxn ang="0">
                    <a:pos x="T0" y="T1"/>
                  </a:cxn>
                  <a:cxn ang="0">
                    <a:pos x="T2" y="T3"/>
                  </a:cxn>
                  <a:cxn ang="0">
                    <a:pos x="T4" y="T5"/>
                  </a:cxn>
                  <a:cxn ang="0">
                    <a:pos x="T6" y="T7"/>
                  </a:cxn>
                  <a:cxn ang="0">
                    <a:pos x="T8" y="T9"/>
                  </a:cxn>
                </a:cxnLst>
                <a:rect l="0" t="0" r="r" b="b"/>
                <a:pathLst>
                  <a:path w="28" h="29">
                    <a:moveTo>
                      <a:pt x="19" y="29"/>
                    </a:moveTo>
                    <a:lnTo>
                      <a:pt x="0" y="8"/>
                    </a:lnTo>
                    <a:lnTo>
                      <a:pt x="7" y="0"/>
                    </a:lnTo>
                    <a:lnTo>
                      <a:pt x="28" y="20"/>
                    </a:lnTo>
                    <a:lnTo>
                      <a:pt x="1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6" name="Freeform 36"/>
              <p:cNvSpPr>
                <a:spLocks/>
              </p:cNvSpPr>
              <p:nvPr userDrawn="1"/>
            </p:nvSpPr>
            <p:spPr bwMode="black">
              <a:xfrm>
                <a:off x="2797176" y="3747334"/>
                <a:ext cx="42863" cy="46038"/>
              </a:xfrm>
              <a:custGeom>
                <a:avLst/>
                <a:gdLst>
                  <a:gd name="T0" fmla="*/ 7 w 27"/>
                  <a:gd name="T1" fmla="*/ 29 h 29"/>
                  <a:gd name="T2" fmla="*/ 0 w 27"/>
                  <a:gd name="T3" fmla="*/ 20 h 29"/>
                  <a:gd name="T4" fmla="*/ 21 w 27"/>
                  <a:gd name="T5" fmla="*/ 0 h 29"/>
                  <a:gd name="T6" fmla="*/ 27 w 27"/>
                  <a:gd name="T7" fmla="*/ 8 h 29"/>
                  <a:gd name="T8" fmla="*/ 7 w 27"/>
                  <a:gd name="T9" fmla="*/ 29 h 29"/>
                </a:gdLst>
                <a:ahLst/>
                <a:cxnLst>
                  <a:cxn ang="0">
                    <a:pos x="T0" y="T1"/>
                  </a:cxn>
                  <a:cxn ang="0">
                    <a:pos x="T2" y="T3"/>
                  </a:cxn>
                  <a:cxn ang="0">
                    <a:pos x="T4" y="T5"/>
                  </a:cxn>
                  <a:cxn ang="0">
                    <a:pos x="T6" y="T7"/>
                  </a:cxn>
                  <a:cxn ang="0">
                    <a:pos x="T8" y="T9"/>
                  </a:cxn>
                </a:cxnLst>
                <a:rect l="0" t="0" r="r" b="b"/>
                <a:pathLst>
                  <a:path w="27" h="29">
                    <a:moveTo>
                      <a:pt x="7" y="29"/>
                    </a:moveTo>
                    <a:lnTo>
                      <a:pt x="0" y="20"/>
                    </a:lnTo>
                    <a:lnTo>
                      <a:pt x="21" y="0"/>
                    </a:lnTo>
                    <a:lnTo>
                      <a:pt x="27" y="8"/>
                    </a:lnTo>
                    <a:lnTo>
                      <a:pt x="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47" name="Freeform 37"/>
              <p:cNvSpPr>
                <a:spLocks/>
              </p:cNvSpPr>
              <p:nvPr userDrawn="1"/>
            </p:nvSpPr>
            <p:spPr bwMode="black">
              <a:xfrm>
                <a:off x="2668588" y="3877509"/>
                <a:ext cx="44450" cy="44450"/>
              </a:xfrm>
              <a:custGeom>
                <a:avLst/>
                <a:gdLst>
                  <a:gd name="T0" fmla="*/ 7 w 28"/>
                  <a:gd name="T1" fmla="*/ 28 h 28"/>
                  <a:gd name="T2" fmla="*/ 0 w 28"/>
                  <a:gd name="T3" fmla="*/ 21 h 28"/>
                  <a:gd name="T4" fmla="*/ 19 w 28"/>
                  <a:gd name="T5" fmla="*/ 0 h 28"/>
                  <a:gd name="T6" fmla="*/ 28 w 28"/>
                  <a:gd name="T7" fmla="*/ 7 h 28"/>
                  <a:gd name="T8" fmla="*/ 7 w 28"/>
                  <a:gd name="T9" fmla="*/ 28 h 28"/>
                </a:gdLst>
                <a:ahLst/>
                <a:cxnLst>
                  <a:cxn ang="0">
                    <a:pos x="T0" y="T1"/>
                  </a:cxn>
                  <a:cxn ang="0">
                    <a:pos x="T2" y="T3"/>
                  </a:cxn>
                  <a:cxn ang="0">
                    <a:pos x="T4" y="T5"/>
                  </a:cxn>
                  <a:cxn ang="0">
                    <a:pos x="T6" y="T7"/>
                  </a:cxn>
                  <a:cxn ang="0">
                    <a:pos x="T8" y="T9"/>
                  </a:cxn>
                </a:cxnLst>
                <a:rect l="0" t="0" r="r" b="b"/>
                <a:pathLst>
                  <a:path w="28" h="28">
                    <a:moveTo>
                      <a:pt x="7" y="28"/>
                    </a:moveTo>
                    <a:lnTo>
                      <a:pt x="0" y="21"/>
                    </a:lnTo>
                    <a:lnTo>
                      <a:pt x="19" y="0"/>
                    </a:lnTo>
                    <a:lnTo>
                      <a:pt x="28" y="7"/>
                    </a:lnTo>
                    <a:lnTo>
                      <a:pt x="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sp useBgFill="1">
        <p:nvSpPr>
          <p:cNvPr id="48" name="Blink Block"/>
          <p:cNvSpPr/>
          <p:nvPr userDrawn="1"/>
        </p:nvSpPr>
        <p:spPr bwMode="black">
          <a:xfrm>
            <a:off x="8118914" y="3750230"/>
            <a:ext cx="3322294"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useBgFill="1">
        <p:nvSpPr>
          <p:cNvPr id="49" name="Blink Block"/>
          <p:cNvSpPr/>
          <p:nvPr userDrawn="1"/>
        </p:nvSpPr>
        <p:spPr bwMode="black">
          <a:xfrm>
            <a:off x="8118914" y="3750230"/>
            <a:ext cx="3322294" cy="1979875"/>
          </a:xfrm>
          <a:custGeom>
            <a:avLst/>
            <a:gdLst>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1804946 h 1804946"/>
              <a:gd name="connsiteX4" fmla="*/ 0 w 3807323"/>
              <a:gd name="connsiteY4" fmla="*/ 0 h 1804946"/>
              <a:gd name="connsiteX0" fmla="*/ 0 w 3807323"/>
              <a:gd name="connsiteY0" fmla="*/ 0 h 1804946"/>
              <a:gd name="connsiteX1" fmla="*/ 3807323 w 3807323"/>
              <a:gd name="connsiteY1" fmla="*/ 0 h 1804946"/>
              <a:gd name="connsiteX2" fmla="*/ 3807323 w 3807323"/>
              <a:gd name="connsiteY2" fmla="*/ 1804946 h 1804946"/>
              <a:gd name="connsiteX3" fmla="*/ 0 w 3807323"/>
              <a:gd name="connsiteY3" fmla="*/ 0 h 1804946"/>
              <a:gd name="connsiteX0" fmla="*/ 0 w 3115560"/>
              <a:gd name="connsiteY0" fmla="*/ 326004 h 1804946"/>
              <a:gd name="connsiteX1" fmla="*/ 3115560 w 3115560"/>
              <a:gd name="connsiteY1" fmla="*/ 0 h 1804946"/>
              <a:gd name="connsiteX2" fmla="*/ 3115560 w 3115560"/>
              <a:gd name="connsiteY2" fmla="*/ 1804946 h 1804946"/>
              <a:gd name="connsiteX3" fmla="*/ 0 w 3115560"/>
              <a:gd name="connsiteY3" fmla="*/ 326004 h 1804946"/>
              <a:gd name="connsiteX0" fmla="*/ 0 w 3322294"/>
              <a:gd name="connsiteY0" fmla="*/ 0 h 1804946"/>
              <a:gd name="connsiteX1" fmla="*/ 3322294 w 3322294"/>
              <a:gd name="connsiteY1" fmla="*/ 0 h 1804946"/>
              <a:gd name="connsiteX2" fmla="*/ 3322294 w 3322294"/>
              <a:gd name="connsiteY2" fmla="*/ 1804946 h 1804946"/>
              <a:gd name="connsiteX3" fmla="*/ 0 w 3322294"/>
              <a:gd name="connsiteY3" fmla="*/ 0 h 1804946"/>
              <a:gd name="connsiteX0" fmla="*/ 0 w 3322294"/>
              <a:gd name="connsiteY0" fmla="*/ 0 h 1804946"/>
              <a:gd name="connsiteX1" fmla="*/ 3322294 w 3322294"/>
              <a:gd name="connsiteY1" fmla="*/ 0 h 1804946"/>
              <a:gd name="connsiteX2" fmla="*/ 3322294 w 3322294"/>
              <a:gd name="connsiteY2" fmla="*/ 1804946 h 1804946"/>
              <a:gd name="connsiteX3" fmla="*/ 592556 w 3322294"/>
              <a:gd name="connsiteY3" fmla="*/ 304306 h 1804946"/>
              <a:gd name="connsiteX4" fmla="*/ 0 w 3322294"/>
              <a:gd name="connsiteY4" fmla="*/ 0 h 1804946"/>
              <a:gd name="connsiteX0" fmla="*/ 0 w 3322294"/>
              <a:gd name="connsiteY0" fmla="*/ 0 h 1804946"/>
              <a:gd name="connsiteX1" fmla="*/ 3322294 w 3322294"/>
              <a:gd name="connsiteY1" fmla="*/ 0 h 1804946"/>
              <a:gd name="connsiteX2" fmla="*/ 3322294 w 3322294"/>
              <a:gd name="connsiteY2" fmla="*/ 1804946 h 1804946"/>
              <a:gd name="connsiteX3" fmla="*/ 20062 w 3322294"/>
              <a:gd name="connsiteY3" fmla="*/ 908605 h 1804946"/>
              <a:gd name="connsiteX4" fmla="*/ 0 w 3322294"/>
              <a:gd name="connsiteY4" fmla="*/ 0 h 1804946"/>
              <a:gd name="connsiteX0" fmla="*/ 0 w 3322294"/>
              <a:gd name="connsiteY0" fmla="*/ 0 h 1979875"/>
              <a:gd name="connsiteX1" fmla="*/ 3322294 w 3322294"/>
              <a:gd name="connsiteY1" fmla="*/ 0 h 1979875"/>
              <a:gd name="connsiteX2" fmla="*/ 3266635 w 3322294"/>
              <a:gd name="connsiteY2" fmla="*/ 1979875 h 1979875"/>
              <a:gd name="connsiteX3" fmla="*/ 20062 w 3322294"/>
              <a:gd name="connsiteY3" fmla="*/ 908605 h 1979875"/>
              <a:gd name="connsiteX4" fmla="*/ 0 w 3322294"/>
              <a:gd name="connsiteY4" fmla="*/ 0 h 1979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294" h="1979875">
                <a:moveTo>
                  <a:pt x="0" y="0"/>
                </a:moveTo>
                <a:lnTo>
                  <a:pt x="3322294" y="0"/>
                </a:lnTo>
                <a:lnTo>
                  <a:pt x="3266635" y="1979875"/>
                </a:lnTo>
                <a:lnTo>
                  <a:pt x="20062" y="90860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grpSp>
        <p:nvGrpSpPr>
          <p:cNvPr id="50" name="Yellow Arrow 2"/>
          <p:cNvGrpSpPr/>
          <p:nvPr userDrawn="1"/>
        </p:nvGrpSpPr>
        <p:grpSpPr bwMode="black">
          <a:xfrm>
            <a:off x="8428455" y="5186512"/>
            <a:ext cx="1602175" cy="389150"/>
            <a:chOff x="8730417" y="1481563"/>
            <a:chExt cx="1602175" cy="389150"/>
          </a:xfrm>
        </p:grpSpPr>
        <p:sp>
          <p:nvSpPr>
            <p:cNvPr id="51" name="Freeform 9"/>
            <p:cNvSpPr>
              <a:spLocks noEditPoints="1"/>
            </p:cNvSpPr>
            <p:nvPr userDrawn="1"/>
          </p:nvSpPr>
          <p:spPr bwMode="black">
            <a:xfrm>
              <a:off x="8833839" y="1630562"/>
              <a:ext cx="1130639" cy="89399"/>
            </a:xfrm>
            <a:custGeom>
              <a:avLst/>
              <a:gdLst>
                <a:gd name="T0" fmla="*/ 524 w 546"/>
                <a:gd name="T1" fmla="*/ 43 h 43"/>
                <a:gd name="T2" fmla="*/ 21 w 546"/>
                <a:gd name="T3" fmla="*/ 43 h 43"/>
                <a:gd name="T4" fmla="*/ 0 w 546"/>
                <a:gd name="T5" fmla="*/ 22 h 43"/>
                <a:gd name="T6" fmla="*/ 21 w 546"/>
                <a:gd name="T7" fmla="*/ 0 h 43"/>
                <a:gd name="T8" fmla="*/ 524 w 546"/>
                <a:gd name="T9" fmla="*/ 0 h 43"/>
                <a:gd name="T10" fmla="*/ 546 w 546"/>
                <a:gd name="T11" fmla="*/ 22 h 43"/>
                <a:gd name="T12" fmla="*/ 524 w 546"/>
                <a:gd name="T13" fmla="*/ 43 h 43"/>
                <a:gd name="T14" fmla="*/ 21 w 546"/>
                <a:gd name="T15" fmla="*/ 9 h 43"/>
                <a:gd name="T16" fmla="*/ 9 w 546"/>
                <a:gd name="T17" fmla="*/ 22 h 43"/>
                <a:gd name="T18" fmla="*/ 21 w 546"/>
                <a:gd name="T19" fmla="*/ 34 h 43"/>
                <a:gd name="T20" fmla="*/ 524 w 546"/>
                <a:gd name="T21" fmla="*/ 34 h 43"/>
                <a:gd name="T22" fmla="*/ 537 w 546"/>
                <a:gd name="T23" fmla="*/ 22 h 43"/>
                <a:gd name="T24" fmla="*/ 524 w 546"/>
                <a:gd name="T25" fmla="*/ 9 h 43"/>
                <a:gd name="T26" fmla="*/ 21 w 546"/>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6" h="43">
                  <a:moveTo>
                    <a:pt x="524" y="43"/>
                  </a:moveTo>
                  <a:cubicBezTo>
                    <a:pt x="21" y="43"/>
                    <a:pt x="21" y="43"/>
                    <a:pt x="21" y="43"/>
                  </a:cubicBezTo>
                  <a:cubicBezTo>
                    <a:pt x="9" y="43"/>
                    <a:pt x="0" y="34"/>
                    <a:pt x="0" y="22"/>
                  </a:cubicBezTo>
                  <a:cubicBezTo>
                    <a:pt x="0" y="10"/>
                    <a:pt x="9" y="0"/>
                    <a:pt x="21" y="0"/>
                  </a:cubicBezTo>
                  <a:cubicBezTo>
                    <a:pt x="524" y="0"/>
                    <a:pt x="524" y="0"/>
                    <a:pt x="524" y="0"/>
                  </a:cubicBezTo>
                  <a:cubicBezTo>
                    <a:pt x="536" y="0"/>
                    <a:pt x="546" y="10"/>
                    <a:pt x="546" y="22"/>
                  </a:cubicBezTo>
                  <a:cubicBezTo>
                    <a:pt x="546" y="34"/>
                    <a:pt x="536" y="43"/>
                    <a:pt x="524" y="43"/>
                  </a:cubicBezTo>
                  <a:close/>
                  <a:moveTo>
                    <a:pt x="21" y="9"/>
                  </a:moveTo>
                  <a:cubicBezTo>
                    <a:pt x="14" y="9"/>
                    <a:pt x="9" y="15"/>
                    <a:pt x="9" y="22"/>
                  </a:cubicBezTo>
                  <a:cubicBezTo>
                    <a:pt x="9" y="29"/>
                    <a:pt x="14" y="34"/>
                    <a:pt x="21" y="34"/>
                  </a:cubicBezTo>
                  <a:cubicBezTo>
                    <a:pt x="524" y="34"/>
                    <a:pt x="524" y="34"/>
                    <a:pt x="524" y="34"/>
                  </a:cubicBezTo>
                  <a:cubicBezTo>
                    <a:pt x="531" y="34"/>
                    <a:pt x="537" y="29"/>
                    <a:pt x="537" y="22"/>
                  </a:cubicBezTo>
                  <a:cubicBezTo>
                    <a:pt x="537" y="15"/>
                    <a:pt x="531" y="9"/>
                    <a:pt x="524" y="9"/>
                  </a:cubicBezTo>
                  <a:lnTo>
                    <a:pt x="21" y="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2" name="Freeform 10"/>
            <p:cNvSpPr>
              <a:spLocks noEditPoints="1"/>
            </p:cNvSpPr>
            <p:nvPr userDrawn="1"/>
          </p:nvSpPr>
          <p:spPr bwMode="black">
            <a:xfrm>
              <a:off x="9981130" y="1481563"/>
              <a:ext cx="351462" cy="389150"/>
            </a:xfrm>
            <a:custGeom>
              <a:avLst/>
              <a:gdLst>
                <a:gd name="T0" fmla="*/ 71 w 170"/>
                <a:gd name="T1" fmla="*/ 188 h 188"/>
                <a:gd name="T2" fmla="*/ 56 w 170"/>
                <a:gd name="T3" fmla="*/ 181 h 188"/>
                <a:gd name="T4" fmla="*/ 50 w 170"/>
                <a:gd name="T5" fmla="*/ 166 h 188"/>
                <a:gd name="T6" fmla="*/ 56 w 170"/>
                <a:gd name="T7" fmla="*/ 151 h 188"/>
                <a:gd name="T8" fmla="*/ 92 w 170"/>
                <a:gd name="T9" fmla="*/ 115 h 188"/>
                <a:gd name="T10" fmla="*/ 22 w 170"/>
                <a:gd name="T11" fmla="*/ 115 h 188"/>
                <a:gd name="T12" fmla="*/ 0 w 170"/>
                <a:gd name="T13" fmla="*/ 94 h 188"/>
                <a:gd name="T14" fmla="*/ 22 w 170"/>
                <a:gd name="T15" fmla="*/ 72 h 188"/>
                <a:gd name="T16" fmla="*/ 92 w 170"/>
                <a:gd name="T17" fmla="*/ 72 h 188"/>
                <a:gd name="T18" fmla="*/ 56 w 170"/>
                <a:gd name="T19" fmla="*/ 37 h 188"/>
                <a:gd name="T20" fmla="*/ 50 w 170"/>
                <a:gd name="T21" fmla="*/ 21 h 188"/>
                <a:gd name="T22" fmla="*/ 56 w 170"/>
                <a:gd name="T23" fmla="*/ 6 h 188"/>
                <a:gd name="T24" fmla="*/ 71 w 170"/>
                <a:gd name="T25" fmla="*/ 0 h 188"/>
                <a:gd name="T26" fmla="*/ 87 w 170"/>
                <a:gd name="T27" fmla="*/ 6 h 188"/>
                <a:gd name="T28" fmla="*/ 159 w 170"/>
                <a:gd name="T29" fmla="*/ 79 h 188"/>
                <a:gd name="T30" fmla="*/ 162 w 170"/>
                <a:gd name="T31" fmla="*/ 81 h 188"/>
                <a:gd name="T32" fmla="*/ 170 w 170"/>
                <a:gd name="T33" fmla="*/ 94 h 188"/>
                <a:gd name="T34" fmla="*/ 162 w 170"/>
                <a:gd name="T35" fmla="*/ 107 h 188"/>
                <a:gd name="T36" fmla="*/ 159 w 170"/>
                <a:gd name="T37" fmla="*/ 109 h 188"/>
                <a:gd name="T38" fmla="*/ 87 w 170"/>
                <a:gd name="T39" fmla="*/ 181 h 188"/>
                <a:gd name="T40" fmla="*/ 71 w 170"/>
                <a:gd name="T41" fmla="*/ 188 h 188"/>
                <a:gd name="T42" fmla="*/ 22 w 170"/>
                <a:gd name="T43" fmla="*/ 81 h 188"/>
                <a:gd name="T44" fmla="*/ 9 w 170"/>
                <a:gd name="T45" fmla="*/ 94 h 188"/>
                <a:gd name="T46" fmla="*/ 22 w 170"/>
                <a:gd name="T47" fmla="*/ 106 h 188"/>
                <a:gd name="T48" fmla="*/ 113 w 170"/>
                <a:gd name="T49" fmla="*/ 106 h 188"/>
                <a:gd name="T50" fmla="*/ 63 w 170"/>
                <a:gd name="T51" fmla="*/ 157 h 188"/>
                <a:gd name="T52" fmla="*/ 59 w 170"/>
                <a:gd name="T53" fmla="*/ 166 h 188"/>
                <a:gd name="T54" fmla="*/ 63 w 170"/>
                <a:gd name="T55" fmla="*/ 175 h 188"/>
                <a:gd name="T56" fmla="*/ 80 w 170"/>
                <a:gd name="T57" fmla="*/ 175 h 188"/>
                <a:gd name="T58" fmla="*/ 153 w 170"/>
                <a:gd name="T59" fmla="*/ 103 h 188"/>
                <a:gd name="T60" fmla="*/ 156 w 170"/>
                <a:gd name="T61" fmla="*/ 100 h 188"/>
                <a:gd name="T62" fmla="*/ 161 w 170"/>
                <a:gd name="T63" fmla="*/ 94 h 188"/>
                <a:gd name="T64" fmla="*/ 156 w 170"/>
                <a:gd name="T65" fmla="*/ 88 h 188"/>
                <a:gd name="T66" fmla="*/ 153 w 170"/>
                <a:gd name="T67" fmla="*/ 85 h 188"/>
                <a:gd name="T68" fmla="*/ 80 w 170"/>
                <a:gd name="T69" fmla="*/ 12 h 188"/>
                <a:gd name="T70" fmla="*/ 63 w 170"/>
                <a:gd name="T71" fmla="*/ 12 h 188"/>
                <a:gd name="T72" fmla="*/ 59 w 170"/>
                <a:gd name="T73" fmla="*/ 21 h 188"/>
                <a:gd name="T74" fmla="*/ 63 w 170"/>
                <a:gd name="T75" fmla="*/ 30 h 188"/>
                <a:gd name="T76" fmla="*/ 113 w 170"/>
                <a:gd name="T77" fmla="*/ 81 h 188"/>
                <a:gd name="T78" fmla="*/ 22 w 170"/>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0" h="188">
                  <a:moveTo>
                    <a:pt x="71" y="188"/>
                  </a:moveTo>
                  <a:cubicBezTo>
                    <a:pt x="66" y="188"/>
                    <a:pt x="60" y="185"/>
                    <a:pt x="56" y="181"/>
                  </a:cubicBezTo>
                  <a:cubicBezTo>
                    <a:pt x="52" y="177"/>
                    <a:pt x="50" y="172"/>
                    <a:pt x="50" y="166"/>
                  </a:cubicBezTo>
                  <a:cubicBezTo>
                    <a:pt x="50" y="160"/>
                    <a:pt x="52" y="155"/>
                    <a:pt x="56" y="151"/>
                  </a:cubicBezTo>
                  <a:cubicBezTo>
                    <a:pt x="92" y="115"/>
                    <a:pt x="92" y="115"/>
                    <a:pt x="92" y="115"/>
                  </a:cubicBezTo>
                  <a:cubicBezTo>
                    <a:pt x="22" y="115"/>
                    <a:pt x="22" y="115"/>
                    <a:pt x="22" y="115"/>
                  </a:cubicBezTo>
                  <a:cubicBezTo>
                    <a:pt x="12" y="115"/>
                    <a:pt x="0" y="110"/>
                    <a:pt x="0" y="94"/>
                  </a:cubicBezTo>
                  <a:cubicBezTo>
                    <a:pt x="0" y="78"/>
                    <a:pt x="12" y="72"/>
                    <a:pt x="22" y="72"/>
                  </a:cubicBezTo>
                  <a:cubicBezTo>
                    <a:pt x="92" y="72"/>
                    <a:pt x="92" y="72"/>
                    <a:pt x="92" y="72"/>
                  </a:cubicBezTo>
                  <a:cubicBezTo>
                    <a:pt x="56" y="37"/>
                    <a:pt x="56" y="37"/>
                    <a:pt x="56" y="37"/>
                  </a:cubicBezTo>
                  <a:cubicBezTo>
                    <a:pt x="52" y="33"/>
                    <a:pt x="50" y="27"/>
                    <a:pt x="50" y="21"/>
                  </a:cubicBezTo>
                  <a:cubicBezTo>
                    <a:pt x="50" y="16"/>
                    <a:pt x="52" y="10"/>
                    <a:pt x="56" y="6"/>
                  </a:cubicBezTo>
                  <a:cubicBezTo>
                    <a:pt x="60" y="2"/>
                    <a:pt x="66" y="0"/>
                    <a:pt x="71" y="0"/>
                  </a:cubicBezTo>
                  <a:cubicBezTo>
                    <a:pt x="77" y="0"/>
                    <a:pt x="83" y="2"/>
                    <a:pt x="87" y="6"/>
                  </a:cubicBezTo>
                  <a:cubicBezTo>
                    <a:pt x="159" y="79"/>
                    <a:pt x="159" y="79"/>
                    <a:pt x="159" y="79"/>
                  </a:cubicBezTo>
                  <a:cubicBezTo>
                    <a:pt x="160" y="79"/>
                    <a:pt x="161" y="80"/>
                    <a:pt x="162" y="81"/>
                  </a:cubicBezTo>
                  <a:cubicBezTo>
                    <a:pt x="165" y="84"/>
                    <a:pt x="170" y="88"/>
                    <a:pt x="170" y="94"/>
                  </a:cubicBezTo>
                  <a:cubicBezTo>
                    <a:pt x="170" y="99"/>
                    <a:pt x="165" y="103"/>
                    <a:pt x="162" y="107"/>
                  </a:cubicBezTo>
                  <a:cubicBezTo>
                    <a:pt x="161" y="108"/>
                    <a:pt x="160" y="108"/>
                    <a:pt x="159" y="109"/>
                  </a:cubicBezTo>
                  <a:cubicBezTo>
                    <a:pt x="87" y="181"/>
                    <a:pt x="87" y="181"/>
                    <a:pt x="87" y="181"/>
                  </a:cubicBezTo>
                  <a:cubicBezTo>
                    <a:pt x="83" y="185"/>
                    <a:pt x="77" y="188"/>
                    <a:pt x="71" y="188"/>
                  </a:cubicBezTo>
                  <a:close/>
                  <a:moveTo>
                    <a:pt x="22" y="81"/>
                  </a:moveTo>
                  <a:cubicBezTo>
                    <a:pt x="17" y="81"/>
                    <a:pt x="9" y="83"/>
                    <a:pt x="9" y="94"/>
                  </a:cubicBezTo>
                  <a:cubicBezTo>
                    <a:pt x="9" y="105"/>
                    <a:pt x="17" y="106"/>
                    <a:pt x="22" y="106"/>
                  </a:cubicBezTo>
                  <a:cubicBezTo>
                    <a:pt x="113" y="106"/>
                    <a:pt x="113" y="106"/>
                    <a:pt x="113" y="106"/>
                  </a:cubicBezTo>
                  <a:cubicBezTo>
                    <a:pt x="63" y="157"/>
                    <a:pt x="63" y="157"/>
                    <a:pt x="63" y="157"/>
                  </a:cubicBezTo>
                  <a:cubicBezTo>
                    <a:pt x="60" y="160"/>
                    <a:pt x="59" y="163"/>
                    <a:pt x="59" y="166"/>
                  </a:cubicBezTo>
                  <a:cubicBezTo>
                    <a:pt x="59" y="169"/>
                    <a:pt x="60" y="173"/>
                    <a:pt x="63" y="175"/>
                  </a:cubicBezTo>
                  <a:cubicBezTo>
                    <a:pt x="67" y="180"/>
                    <a:pt x="76" y="180"/>
                    <a:pt x="80" y="175"/>
                  </a:cubicBezTo>
                  <a:cubicBezTo>
                    <a:pt x="153" y="103"/>
                    <a:pt x="153" y="103"/>
                    <a:pt x="153" y="103"/>
                  </a:cubicBezTo>
                  <a:cubicBezTo>
                    <a:pt x="154" y="102"/>
                    <a:pt x="155" y="101"/>
                    <a:pt x="156" y="100"/>
                  </a:cubicBezTo>
                  <a:cubicBezTo>
                    <a:pt x="157" y="98"/>
                    <a:pt x="161" y="95"/>
                    <a:pt x="161" y="94"/>
                  </a:cubicBezTo>
                  <a:cubicBezTo>
                    <a:pt x="161" y="92"/>
                    <a:pt x="157" y="89"/>
                    <a:pt x="156" y="88"/>
                  </a:cubicBezTo>
                  <a:cubicBezTo>
                    <a:pt x="155" y="87"/>
                    <a:pt x="154" y="86"/>
                    <a:pt x="153" y="85"/>
                  </a:cubicBezTo>
                  <a:cubicBezTo>
                    <a:pt x="80" y="12"/>
                    <a:pt x="80" y="12"/>
                    <a:pt x="80" y="12"/>
                  </a:cubicBezTo>
                  <a:cubicBezTo>
                    <a:pt x="76" y="8"/>
                    <a:pt x="67" y="8"/>
                    <a:pt x="63" y="12"/>
                  </a:cubicBezTo>
                  <a:cubicBezTo>
                    <a:pt x="60" y="15"/>
                    <a:pt x="59" y="18"/>
                    <a:pt x="59" y="21"/>
                  </a:cubicBezTo>
                  <a:cubicBezTo>
                    <a:pt x="59" y="25"/>
                    <a:pt x="60" y="28"/>
                    <a:pt x="63" y="30"/>
                  </a:cubicBezTo>
                  <a:cubicBezTo>
                    <a:pt x="113" y="81"/>
                    <a:pt x="113" y="81"/>
                    <a:pt x="113" y="81"/>
                  </a:cubicBezTo>
                  <a:lnTo>
                    <a:pt x="22" y="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3" name="Freeform 11"/>
            <p:cNvSpPr>
              <a:spLocks noEditPoints="1"/>
            </p:cNvSpPr>
            <p:nvPr userDrawn="1"/>
          </p:nvSpPr>
          <p:spPr bwMode="black">
            <a:xfrm>
              <a:off x="8730417" y="1630562"/>
              <a:ext cx="88523" cy="89399"/>
            </a:xfrm>
            <a:custGeom>
              <a:avLst/>
              <a:gdLst>
                <a:gd name="T0" fmla="*/ 21 w 43"/>
                <a:gd name="T1" fmla="*/ 43 h 43"/>
                <a:gd name="T2" fmla="*/ 0 w 43"/>
                <a:gd name="T3" fmla="*/ 22 h 43"/>
                <a:gd name="T4" fmla="*/ 21 w 43"/>
                <a:gd name="T5" fmla="*/ 0 h 43"/>
                <a:gd name="T6" fmla="*/ 43 w 43"/>
                <a:gd name="T7" fmla="*/ 22 h 43"/>
                <a:gd name="T8" fmla="*/ 21 w 43"/>
                <a:gd name="T9" fmla="*/ 43 h 43"/>
                <a:gd name="T10" fmla="*/ 21 w 43"/>
                <a:gd name="T11" fmla="*/ 9 h 43"/>
                <a:gd name="T12" fmla="*/ 9 w 43"/>
                <a:gd name="T13" fmla="*/ 22 h 43"/>
                <a:gd name="T14" fmla="*/ 21 w 43"/>
                <a:gd name="T15" fmla="*/ 34 h 43"/>
                <a:gd name="T16" fmla="*/ 34 w 43"/>
                <a:gd name="T17" fmla="*/ 22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4"/>
                    <a:pt x="0" y="22"/>
                  </a:cubicBezTo>
                  <a:cubicBezTo>
                    <a:pt x="0" y="10"/>
                    <a:pt x="9" y="0"/>
                    <a:pt x="21" y="0"/>
                  </a:cubicBezTo>
                  <a:cubicBezTo>
                    <a:pt x="33" y="0"/>
                    <a:pt x="43" y="10"/>
                    <a:pt x="43" y="22"/>
                  </a:cubicBezTo>
                  <a:cubicBezTo>
                    <a:pt x="43" y="34"/>
                    <a:pt x="33" y="43"/>
                    <a:pt x="21" y="43"/>
                  </a:cubicBezTo>
                  <a:close/>
                  <a:moveTo>
                    <a:pt x="21" y="9"/>
                  </a:moveTo>
                  <a:cubicBezTo>
                    <a:pt x="14" y="9"/>
                    <a:pt x="9" y="15"/>
                    <a:pt x="9" y="22"/>
                  </a:cubicBezTo>
                  <a:cubicBezTo>
                    <a:pt x="9" y="29"/>
                    <a:pt x="14" y="34"/>
                    <a:pt x="21" y="34"/>
                  </a:cubicBezTo>
                  <a:cubicBezTo>
                    <a:pt x="28" y="34"/>
                    <a:pt x="34" y="29"/>
                    <a:pt x="34" y="22"/>
                  </a:cubicBezTo>
                  <a:cubicBezTo>
                    <a:pt x="34" y="15"/>
                    <a:pt x="28" y="9"/>
                    <a:pt x="21"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54" name="Combined White Arrows"/>
          <p:cNvGrpSpPr/>
          <p:nvPr userDrawn="1"/>
        </p:nvGrpSpPr>
        <p:grpSpPr bwMode="black">
          <a:xfrm>
            <a:off x="8276826" y="4901344"/>
            <a:ext cx="1998338" cy="973653"/>
            <a:chOff x="8578788" y="1196393"/>
            <a:chExt cx="1998338" cy="973653"/>
          </a:xfrm>
        </p:grpSpPr>
        <p:grpSp>
          <p:nvGrpSpPr>
            <p:cNvPr id="55" name="Big White Arrow"/>
            <p:cNvGrpSpPr/>
            <p:nvPr userDrawn="1"/>
          </p:nvGrpSpPr>
          <p:grpSpPr bwMode="black">
            <a:xfrm>
              <a:off x="8578788" y="1196393"/>
              <a:ext cx="1998338" cy="386520"/>
              <a:chOff x="8578788" y="1227389"/>
              <a:chExt cx="1998338" cy="386520"/>
            </a:xfrm>
          </p:grpSpPr>
          <p:sp>
            <p:nvSpPr>
              <p:cNvPr id="60" name="Freeform 6"/>
              <p:cNvSpPr>
                <a:spLocks noEditPoints="1"/>
              </p:cNvSpPr>
              <p:nvPr userDrawn="1"/>
            </p:nvSpPr>
            <p:spPr bwMode="black">
              <a:xfrm>
                <a:off x="8680458" y="1376388"/>
                <a:ext cx="184057" cy="88523"/>
              </a:xfrm>
              <a:custGeom>
                <a:avLst/>
                <a:gdLst>
                  <a:gd name="T0" fmla="*/ 68 w 89"/>
                  <a:gd name="T1" fmla="*/ 43 h 43"/>
                  <a:gd name="T2" fmla="*/ 22 w 89"/>
                  <a:gd name="T3" fmla="*/ 43 h 43"/>
                  <a:gd name="T4" fmla="*/ 0 w 89"/>
                  <a:gd name="T5" fmla="*/ 21 h 43"/>
                  <a:gd name="T6" fmla="*/ 22 w 89"/>
                  <a:gd name="T7" fmla="*/ 0 h 43"/>
                  <a:gd name="T8" fmla="*/ 68 w 89"/>
                  <a:gd name="T9" fmla="*/ 0 h 43"/>
                  <a:gd name="T10" fmla="*/ 89 w 89"/>
                  <a:gd name="T11" fmla="*/ 21 h 43"/>
                  <a:gd name="T12" fmla="*/ 68 w 89"/>
                  <a:gd name="T13" fmla="*/ 43 h 43"/>
                  <a:gd name="T14" fmla="*/ 22 w 89"/>
                  <a:gd name="T15" fmla="*/ 9 h 43"/>
                  <a:gd name="T16" fmla="*/ 9 w 89"/>
                  <a:gd name="T17" fmla="*/ 21 h 43"/>
                  <a:gd name="T18" fmla="*/ 22 w 89"/>
                  <a:gd name="T19" fmla="*/ 34 h 43"/>
                  <a:gd name="T20" fmla="*/ 68 w 89"/>
                  <a:gd name="T21" fmla="*/ 34 h 43"/>
                  <a:gd name="T22" fmla="*/ 80 w 89"/>
                  <a:gd name="T23" fmla="*/ 21 h 43"/>
                  <a:gd name="T24" fmla="*/ 68 w 89"/>
                  <a:gd name="T25" fmla="*/ 9 h 43"/>
                  <a:gd name="T26" fmla="*/ 22 w 89"/>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43">
                    <a:moveTo>
                      <a:pt x="68" y="43"/>
                    </a:moveTo>
                    <a:cubicBezTo>
                      <a:pt x="22" y="43"/>
                      <a:pt x="22" y="43"/>
                      <a:pt x="22" y="43"/>
                    </a:cubicBezTo>
                    <a:cubicBezTo>
                      <a:pt x="10" y="43"/>
                      <a:pt x="0" y="33"/>
                      <a:pt x="0" y="21"/>
                    </a:cubicBezTo>
                    <a:cubicBezTo>
                      <a:pt x="0" y="10"/>
                      <a:pt x="10" y="0"/>
                      <a:pt x="22" y="0"/>
                    </a:cubicBezTo>
                    <a:cubicBezTo>
                      <a:pt x="68" y="0"/>
                      <a:pt x="68" y="0"/>
                      <a:pt x="68" y="0"/>
                    </a:cubicBezTo>
                    <a:cubicBezTo>
                      <a:pt x="80" y="0"/>
                      <a:pt x="89" y="10"/>
                      <a:pt x="89" y="21"/>
                    </a:cubicBezTo>
                    <a:cubicBezTo>
                      <a:pt x="89" y="33"/>
                      <a:pt x="80" y="43"/>
                      <a:pt x="68" y="43"/>
                    </a:cubicBezTo>
                    <a:close/>
                    <a:moveTo>
                      <a:pt x="22" y="9"/>
                    </a:moveTo>
                    <a:cubicBezTo>
                      <a:pt x="15" y="9"/>
                      <a:pt x="9" y="14"/>
                      <a:pt x="9" y="21"/>
                    </a:cubicBezTo>
                    <a:cubicBezTo>
                      <a:pt x="9" y="28"/>
                      <a:pt x="15" y="34"/>
                      <a:pt x="22" y="34"/>
                    </a:cubicBezTo>
                    <a:cubicBezTo>
                      <a:pt x="68" y="34"/>
                      <a:pt x="68" y="34"/>
                      <a:pt x="68" y="34"/>
                    </a:cubicBezTo>
                    <a:cubicBezTo>
                      <a:pt x="75" y="34"/>
                      <a:pt x="80" y="28"/>
                      <a:pt x="80" y="21"/>
                    </a:cubicBezTo>
                    <a:cubicBezTo>
                      <a:pt x="80" y="14"/>
                      <a:pt x="75" y="9"/>
                      <a:pt x="68" y="9"/>
                    </a:cubicBezTo>
                    <a:lnTo>
                      <a:pt x="2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1" name="Freeform 7"/>
              <p:cNvSpPr>
                <a:spLocks noEditPoints="1"/>
              </p:cNvSpPr>
              <p:nvPr userDrawn="1"/>
            </p:nvSpPr>
            <p:spPr bwMode="black">
              <a:xfrm>
                <a:off x="8883797" y="1227389"/>
                <a:ext cx="1693329" cy="386520"/>
              </a:xfrm>
              <a:custGeom>
                <a:avLst/>
                <a:gdLst>
                  <a:gd name="T0" fmla="*/ 719 w 818"/>
                  <a:gd name="T1" fmla="*/ 187 h 187"/>
                  <a:gd name="T2" fmla="*/ 704 w 818"/>
                  <a:gd name="T3" fmla="*/ 181 h 187"/>
                  <a:gd name="T4" fmla="*/ 704 w 818"/>
                  <a:gd name="T5" fmla="*/ 151 h 187"/>
                  <a:gd name="T6" fmla="*/ 740 w 818"/>
                  <a:gd name="T7" fmla="*/ 115 h 187"/>
                  <a:gd name="T8" fmla="*/ 22 w 818"/>
                  <a:gd name="T9" fmla="*/ 115 h 187"/>
                  <a:gd name="T10" fmla="*/ 0 w 818"/>
                  <a:gd name="T11" fmla="*/ 93 h 187"/>
                  <a:gd name="T12" fmla="*/ 22 w 818"/>
                  <a:gd name="T13" fmla="*/ 72 h 187"/>
                  <a:gd name="T14" fmla="*/ 740 w 818"/>
                  <a:gd name="T15" fmla="*/ 72 h 187"/>
                  <a:gd name="T16" fmla="*/ 704 w 818"/>
                  <a:gd name="T17" fmla="*/ 36 h 187"/>
                  <a:gd name="T18" fmla="*/ 698 w 818"/>
                  <a:gd name="T19" fmla="*/ 21 h 187"/>
                  <a:gd name="T20" fmla="*/ 704 w 818"/>
                  <a:gd name="T21" fmla="*/ 6 h 187"/>
                  <a:gd name="T22" fmla="*/ 719 w 818"/>
                  <a:gd name="T23" fmla="*/ 0 h 187"/>
                  <a:gd name="T24" fmla="*/ 735 w 818"/>
                  <a:gd name="T25" fmla="*/ 6 h 187"/>
                  <a:gd name="T26" fmla="*/ 807 w 818"/>
                  <a:gd name="T27" fmla="*/ 78 h 187"/>
                  <a:gd name="T28" fmla="*/ 810 w 818"/>
                  <a:gd name="T29" fmla="*/ 81 h 187"/>
                  <a:gd name="T30" fmla="*/ 818 w 818"/>
                  <a:gd name="T31" fmla="*/ 93 h 187"/>
                  <a:gd name="T32" fmla="*/ 810 w 818"/>
                  <a:gd name="T33" fmla="*/ 106 h 187"/>
                  <a:gd name="T34" fmla="*/ 807 w 818"/>
                  <a:gd name="T35" fmla="*/ 109 h 187"/>
                  <a:gd name="T36" fmla="*/ 735 w 818"/>
                  <a:gd name="T37" fmla="*/ 181 h 187"/>
                  <a:gd name="T38" fmla="*/ 719 w 818"/>
                  <a:gd name="T39" fmla="*/ 187 h 187"/>
                  <a:gd name="T40" fmla="*/ 22 w 818"/>
                  <a:gd name="T41" fmla="*/ 81 h 187"/>
                  <a:gd name="T42" fmla="*/ 9 w 818"/>
                  <a:gd name="T43" fmla="*/ 93 h 187"/>
                  <a:gd name="T44" fmla="*/ 22 w 818"/>
                  <a:gd name="T45" fmla="*/ 106 h 187"/>
                  <a:gd name="T46" fmla="*/ 761 w 818"/>
                  <a:gd name="T47" fmla="*/ 106 h 187"/>
                  <a:gd name="T48" fmla="*/ 710 w 818"/>
                  <a:gd name="T49" fmla="*/ 157 h 187"/>
                  <a:gd name="T50" fmla="*/ 710 w 818"/>
                  <a:gd name="T51" fmla="*/ 175 h 187"/>
                  <a:gd name="T52" fmla="*/ 728 w 818"/>
                  <a:gd name="T53" fmla="*/ 175 h 187"/>
                  <a:gd name="T54" fmla="*/ 801 w 818"/>
                  <a:gd name="T55" fmla="*/ 102 h 187"/>
                  <a:gd name="T56" fmla="*/ 804 w 818"/>
                  <a:gd name="T57" fmla="*/ 100 h 187"/>
                  <a:gd name="T58" fmla="*/ 809 w 818"/>
                  <a:gd name="T59" fmla="*/ 93 h 187"/>
                  <a:gd name="T60" fmla="*/ 804 w 818"/>
                  <a:gd name="T61" fmla="*/ 87 h 187"/>
                  <a:gd name="T62" fmla="*/ 801 w 818"/>
                  <a:gd name="T63" fmla="*/ 85 h 187"/>
                  <a:gd name="T64" fmla="*/ 728 w 818"/>
                  <a:gd name="T65" fmla="*/ 12 h 187"/>
                  <a:gd name="T66" fmla="*/ 710 w 818"/>
                  <a:gd name="T67" fmla="*/ 12 h 187"/>
                  <a:gd name="T68" fmla="*/ 707 w 818"/>
                  <a:gd name="T69" fmla="*/ 21 h 187"/>
                  <a:gd name="T70" fmla="*/ 710 w 818"/>
                  <a:gd name="T71" fmla="*/ 30 h 187"/>
                  <a:gd name="T72" fmla="*/ 761 w 818"/>
                  <a:gd name="T73" fmla="*/ 81 h 187"/>
                  <a:gd name="T74" fmla="*/ 22 w 818"/>
                  <a:gd name="T75" fmla="*/ 8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8" h="187">
                    <a:moveTo>
                      <a:pt x="719" y="187"/>
                    </a:moveTo>
                    <a:cubicBezTo>
                      <a:pt x="714" y="187"/>
                      <a:pt x="708" y="185"/>
                      <a:pt x="704" y="181"/>
                    </a:cubicBezTo>
                    <a:cubicBezTo>
                      <a:pt x="696" y="173"/>
                      <a:pt x="696" y="159"/>
                      <a:pt x="704" y="151"/>
                    </a:cubicBezTo>
                    <a:cubicBezTo>
                      <a:pt x="740" y="115"/>
                      <a:pt x="740" y="115"/>
                      <a:pt x="740" y="115"/>
                    </a:cubicBezTo>
                    <a:cubicBezTo>
                      <a:pt x="22" y="115"/>
                      <a:pt x="22" y="115"/>
                      <a:pt x="22" y="115"/>
                    </a:cubicBezTo>
                    <a:cubicBezTo>
                      <a:pt x="12" y="115"/>
                      <a:pt x="0" y="109"/>
                      <a:pt x="0" y="93"/>
                    </a:cubicBezTo>
                    <a:cubicBezTo>
                      <a:pt x="0" y="78"/>
                      <a:pt x="12" y="72"/>
                      <a:pt x="22" y="72"/>
                    </a:cubicBezTo>
                    <a:cubicBezTo>
                      <a:pt x="740" y="72"/>
                      <a:pt x="740" y="72"/>
                      <a:pt x="740" y="72"/>
                    </a:cubicBezTo>
                    <a:cubicBezTo>
                      <a:pt x="704" y="36"/>
                      <a:pt x="704" y="36"/>
                      <a:pt x="704" y="36"/>
                    </a:cubicBezTo>
                    <a:cubicBezTo>
                      <a:pt x="700" y="32"/>
                      <a:pt x="698" y="27"/>
                      <a:pt x="698" y="21"/>
                    </a:cubicBezTo>
                    <a:cubicBezTo>
                      <a:pt x="698" y="15"/>
                      <a:pt x="700" y="10"/>
                      <a:pt x="704" y="6"/>
                    </a:cubicBezTo>
                    <a:cubicBezTo>
                      <a:pt x="708" y="2"/>
                      <a:pt x="714" y="0"/>
                      <a:pt x="719" y="0"/>
                    </a:cubicBezTo>
                    <a:cubicBezTo>
                      <a:pt x="725" y="0"/>
                      <a:pt x="731" y="2"/>
                      <a:pt x="735" y="6"/>
                    </a:cubicBezTo>
                    <a:cubicBezTo>
                      <a:pt x="807" y="78"/>
                      <a:pt x="807" y="78"/>
                      <a:pt x="807" y="78"/>
                    </a:cubicBezTo>
                    <a:cubicBezTo>
                      <a:pt x="808" y="79"/>
                      <a:pt x="809" y="80"/>
                      <a:pt x="810" y="81"/>
                    </a:cubicBezTo>
                    <a:cubicBezTo>
                      <a:pt x="814" y="84"/>
                      <a:pt x="818" y="88"/>
                      <a:pt x="818" y="93"/>
                    </a:cubicBezTo>
                    <a:cubicBezTo>
                      <a:pt x="818" y="99"/>
                      <a:pt x="813" y="103"/>
                      <a:pt x="810" y="106"/>
                    </a:cubicBezTo>
                    <a:cubicBezTo>
                      <a:pt x="809" y="107"/>
                      <a:pt x="808" y="108"/>
                      <a:pt x="807" y="109"/>
                    </a:cubicBezTo>
                    <a:cubicBezTo>
                      <a:pt x="735" y="181"/>
                      <a:pt x="735" y="181"/>
                      <a:pt x="735" y="181"/>
                    </a:cubicBezTo>
                    <a:cubicBezTo>
                      <a:pt x="731" y="185"/>
                      <a:pt x="725" y="187"/>
                      <a:pt x="719" y="187"/>
                    </a:cubicBezTo>
                    <a:close/>
                    <a:moveTo>
                      <a:pt x="22" y="81"/>
                    </a:moveTo>
                    <a:cubicBezTo>
                      <a:pt x="17" y="81"/>
                      <a:pt x="9" y="82"/>
                      <a:pt x="9" y="93"/>
                    </a:cubicBezTo>
                    <a:cubicBezTo>
                      <a:pt x="9" y="104"/>
                      <a:pt x="17" y="106"/>
                      <a:pt x="22" y="106"/>
                    </a:cubicBezTo>
                    <a:cubicBezTo>
                      <a:pt x="761" y="106"/>
                      <a:pt x="761" y="106"/>
                      <a:pt x="761" y="106"/>
                    </a:cubicBezTo>
                    <a:cubicBezTo>
                      <a:pt x="710" y="157"/>
                      <a:pt x="710" y="157"/>
                      <a:pt x="710" y="157"/>
                    </a:cubicBezTo>
                    <a:cubicBezTo>
                      <a:pt x="706" y="162"/>
                      <a:pt x="706" y="170"/>
                      <a:pt x="710" y="175"/>
                    </a:cubicBezTo>
                    <a:cubicBezTo>
                      <a:pt x="715" y="179"/>
                      <a:pt x="724" y="179"/>
                      <a:pt x="728" y="175"/>
                    </a:cubicBezTo>
                    <a:cubicBezTo>
                      <a:pt x="801" y="102"/>
                      <a:pt x="801" y="102"/>
                      <a:pt x="801" y="102"/>
                    </a:cubicBezTo>
                    <a:cubicBezTo>
                      <a:pt x="802" y="101"/>
                      <a:pt x="803" y="101"/>
                      <a:pt x="804" y="100"/>
                    </a:cubicBezTo>
                    <a:cubicBezTo>
                      <a:pt x="805" y="98"/>
                      <a:pt x="809" y="95"/>
                      <a:pt x="809" y="93"/>
                    </a:cubicBezTo>
                    <a:cubicBezTo>
                      <a:pt x="809" y="92"/>
                      <a:pt x="805" y="89"/>
                      <a:pt x="804" y="87"/>
                    </a:cubicBezTo>
                    <a:cubicBezTo>
                      <a:pt x="803" y="86"/>
                      <a:pt x="802" y="85"/>
                      <a:pt x="801" y="85"/>
                    </a:cubicBezTo>
                    <a:cubicBezTo>
                      <a:pt x="728" y="12"/>
                      <a:pt x="728" y="12"/>
                      <a:pt x="728" y="12"/>
                    </a:cubicBezTo>
                    <a:cubicBezTo>
                      <a:pt x="724" y="7"/>
                      <a:pt x="715" y="7"/>
                      <a:pt x="710" y="12"/>
                    </a:cubicBezTo>
                    <a:cubicBezTo>
                      <a:pt x="708" y="15"/>
                      <a:pt x="707" y="18"/>
                      <a:pt x="707" y="21"/>
                    </a:cubicBezTo>
                    <a:cubicBezTo>
                      <a:pt x="707" y="24"/>
                      <a:pt x="708" y="28"/>
                      <a:pt x="710" y="30"/>
                    </a:cubicBezTo>
                    <a:cubicBezTo>
                      <a:pt x="761" y="81"/>
                      <a:pt x="761" y="81"/>
                      <a:pt x="761"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2" name="Freeform 8"/>
              <p:cNvSpPr>
                <a:spLocks noEditPoints="1"/>
              </p:cNvSpPr>
              <p:nvPr userDrawn="1"/>
            </p:nvSpPr>
            <p:spPr bwMode="black">
              <a:xfrm>
                <a:off x="8578788" y="1376388"/>
                <a:ext cx="89399" cy="88523"/>
              </a:xfrm>
              <a:custGeom>
                <a:avLst/>
                <a:gdLst>
                  <a:gd name="T0" fmla="*/ 21 w 43"/>
                  <a:gd name="T1" fmla="*/ 43 h 43"/>
                  <a:gd name="T2" fmla="*/ 0 w 43"/>
                  <a:gd name="T3" fmla="*/ 21 h 43"/>
                  <a:gd name="T4" fmla="*/ 21 w 43"/>
                  <a:gd name="T5" fmla="*/ 0 h 43"/>
                  <a:gd name="T6" fmla="*/ 43 w 43"/>
                  <a:gd name="T7" fmla="*/ 21 h 43"/>
                  <a:gd name="T8" fmla="*/ 21 w 43"/>
                  <a:gd name="T9" fmla="*/ 43 h 43"/>
                  <a:gd name="T10" fmla="*/ 21 w 43"/>
                  <a:gd name="T11" fmla="*/ 9 h 43"/>
                  <a:gd name="T12" fmla="*/ 9 w 43"/>
                  <a:gd name="T13" fmla="*/ 21 h 43"/>
                  <a:gd name="T14" fmla="*/ 21 w 43"/>
                  <a:gd name="T15" fmla="*/ 34 h 43"/>
                  <a:gd name="T16" fmla="*/ 34 w 43"/>
                  <a:gd name="T17" fmla="*/ 21 h 43"/>
                  <a:gd name="T18" fmla="*/ 21 w 43"/>
                  <a:gd name="T19"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43"/>
                    </a:moveTo>
                    <a:cubicBezTo>
                      <a:pt x="9" y="43"/>
                      <a:pt x="0" y="33"/>
                      <a:pt x="0" y="21"/>
                    </a:cubicBezTo>
                    <a:cubicBezTo>
                      <a:pt x="0" y="10"/>
                      <a:pt x="9" y="0"/>
                      <a:pt x="21" y="0"/>
                    </a:cubicBezTo>
                    <a:cubicBezTo>
                      <a:pt x="33" y="0"/>
                      <a:pt x="43" y="10"/>
                      <a:pt x="43" y="21"/>
                    </a:cubicBezTo>
                    <a:cubicBezTo>
                      <a:pt x="43" y="33"/>
                      <a:pt x="33" y="43"/>
                      <a:pt x="21" y="43"/>
                    </a:cubicBezTo>
                    <a:close/>
                    <a:moveTo>
                      <a:pt x="21" y="9"/>
                    </a:moveTo>
                    <a:cubicBezTo>
                      <a:pt x="14" y="9"/>
                      <a:pt x="9" y="14"/>
                      <a:pt x="9" y="21"/>
                    </a:cubicBezTo>
                    <a:cubicBezTo>
                      <a:pt x="9" y="28"/>
                      <a:pt x="14" y="34"/>
                      <a:pt x="21" y="34"/>
                    </a:cubicBezTo>
                    <a:cubicBezTo>
                      <a:pt x="28" y="34"/>
                      <a:pt x="34" y="28"/>
                      <a:pt x="34" y="21"/>
                    </a:cubicBezTo>
                    <a:cubicBezTo>
                      <a:pt x="34" y="14"/>
                      <a:pt x="28" y="9"/>
                      <a:pt x="2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56" name="Small White Arrow"/>
            <p:cNvGrpSpPr/>
            <p:nvPr userDrawn="1"/>
          </p:nvGrpSpPr>
          <p:grpSpPr bwMode="black">
            <a:xfrm>
              <a:off x="9024032" y="1780020"/>
              <a:ext cx="1054386" cy="390026"/>
              <a:chOff x="9024032" y="1756773"/>
              <a:chExt cx="1054386" cy="390026"/>
            </a:xfrm>
          </p:grpSpPr>
          <p:sp>
            <p:nvSpPr>
              <p:cNvPr id="57" name="Freeform 12"/>
              <p:cNvSpPr>
                <a:spLocks noEditPoints="1"/>
              </p:cNvSpPr>
              <p:nvPr userDrawn="1"/>
            </p:nvSpPr>
            <p:spPr bwMode="black">
              <a:xfrm>
                <a:off x="9127454" y="1906648"/>
                <a:ext cx="331303" cy="91152"/>
              </a:xfrm>
              <a:custGeom>
                <a:avLst/>
                <a:gdLst>
                  <a:gd name="T0" fmla="*/ 138 w 160"/>
                  <a:gd name="T1" fmla="*/ 44 h 44"/>
                  <a:gd name="T2" fmla="*/ 21 w 160"/>
                  <a:gd name="T3" fmla="*/ 44 h 44"/>
                  <a:gd name="T4" fmla="*/ 0 w 160"/>
                  <a:gd name="T5" fmla="*/ 22 h 44"/>
                  <a:gd name="T6" fmla="*/ 21 w 160"/>
                  <a:gd name="T7" fmla="*/ 0 h 44"/>
                  <a:gd name="T8" fmla="*/ 138 w 160"/>
                  <a:gd name="T9" fmla="*/ 0 h 44"/>
                  <a:gd name="T10" fmla="*/ 160 w 160"/>
                  <a:gd name="T11" fmla="*/ 22 h 44"/>
                  <a:gd name="T12" fmla="*/ 138 w 160"/>
                  <a:gd name="T13" fmla="*/ 44 h 44"/>
                  <a:gd name="T14" fmla="*/ 21 w 160"/>
                  <a:gd name="T15" fmla="*/ 9 h 44"/>
                  <a:gd name="T16" fmla="*/ 9 w 160"/>
                  <a:gd name="T17" fmla="*/ 22 h 44"/>
                  <a:gd name="T18" fmla="*/ 21 w 160"/>
                  <a:gd name="T19" fmla="*/ 35 h 44"/>
                  <a:gd name="T20" fmla="*/ 138 w 160"/>
                  <a:gd name="T21" fmla="*/ 35 h 44"/>
                  <a:gd name="T22" fmla="*/ 151 w 160"/>
                  <a:gd name="T23" fmla="*/ 22 h 44"/>
                  <a:gd name="T24" fmla="*/ 138 w 160"/>
                  <a:gd name="T25" fmla="*/ 9 h 44"/>
                  <a:gd name="T26" fmla="*/ 21 w 160"/>
                  <a:gd name="T2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44">
                    <a:moveTo>
                      <a:pt x="138" y="44"/>
                    </a:moveTo>
                    <a:cubicBezTo>
                      <a:pt x="21" y="44"/>
                      <a:pt x="21" y="44"/>
                      <a:pt x="21" y="44"/>
                    </a:cubicBezTo>
                    <a:cubicBezTo>
                      <a:pt x="9" y="44"/>
                      <a:pt x="0" y="34"/>
                      <a:pt x="0" y="22"/>
                    </a:cubicBezTo>
                    <a:cubicBezTo>
                      <a:pt x="0" y="10"/>
                      <a:pt x="9" y="0"/>
                      <a:pt x="21" y="0"/>
                    </a:cubicBezTo>
                    <a:cubicBezTo>
                      <a:pt x="138" y="0"/>
                      <a:pt x="138" y="0"/>
                      <a:pt x="138" y="0"/>
                    </a:cubicBezTo>
                    <a:cubicBezTo>
                      <a:pt x="150" y="0"/>
                      <a:pt x="160" y="10"/>
                      <a:pt x="160" y="22"/>
                    </a:cubicBezTo>
                    <a:cubicBezTo>
                      <a:pt x="160" y="34"/>
                      <a:pt x="150" y="44"/>
                      <a:pt x="138" y="44"/>
                    </a:cubicBezTo>
                    <a:close/>
                    <a:moveTo>
                      <a:pt x="21" y="9"/>
                    </a:moveTo>
                    <a:cubicBezTo>
                      <a:pt x="14" y="9"/>
                      <a:pt x="9" y="15"/>
                      <a:pt x="9" y="22"/>
                    </a:cubicBezTo>
                    <a:cubicBezTo>
                      <a:pt x="9" y="29"/>
                      <a:pt x="14" y="35"/>
                      <a:pt x="21" y="35"/>
                    </a:cubicBezTo>
                    <a:cubicBezTo>
                      <a:pt x="138" y="35"/>
                      <a:pt x="138" y="35"/>
                      <a:pt x="138" y="35"/>
                    </a:cubicBezTo>
                    <a:cubicBezTo>
                      <a:pt x="145" y="35"/>
                      <a:pt x="151" y="29"/>
                      <a:pt x="151" y="22"/>
                    </a:cubicBezTo>
                    <a:cubicBezTo>
                      <a:pt x="151" y="15"/>
                      <a:pt x="145" y="9"/>
                      <a:pt x="138" y="9"/>
                    </a:cubicBezTo>
                    <a:lnTo>
                      <a:pt x="2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8" name="Freeform 13"/>
              <p:cNvSpPr>
                <a:spLocks noEditPoints="1"/>
              </p:cNvSpPr>
              <p:nvPr userDrawn="1"/>
            </p:nvSpPr>
            <p:spPr bwMode="black">
              <a:xfrm>
                <a:off x="9475411" y="1756773"/>
                <a:ext cx="603007" cy="390026"/>
              </a:xfrm>
              <a:custGeom>
                <a:avLst/>
                <a:gdLst>
                  <a:gd name="T0" fmla="*/ 192 w 291"/>
                  <a:gd name="T1" fmla="*/ 188 h 188"/>
                  <a:gd name="T2" fmla="*/ 177 w 291"/>
                  <a:gd name="T3" fmla="*/ 182 h 188"/>
                  <a:gd name="T4" fmla="*/ 171 w 291"/>
                  <a:gd name="T5" fmla="*/ 166 h 188"/>
                  <a:gd name="T6" fmla="*/ 177 w 291"/>
                  <a:gd name="T7" fmla="*/ 151 h 188"/>
                  <a:gd name="T8" fmla="*/ 213 w 291"/>
                  <a:gd name="T9" fmla="*/ 116 h 188"/>
                  <a:gd name="T10" fmla="*/ 22 w 291"/>
                  <a:gd name="T11" fmla="*/ 116 h 188"/>
                  <a:gd name="T12" fmla="*/ 0 w 291"/>
                  <a:gd name="T13" fmla="*/ 94 h 188"/>
                  <a:gd name="T14" fmla="*/ 22 w 291"/>
                  <a:gd name="T15" fmla="*/ 73 h 188"/>
                  <a:gd name="T16" fmla="*/ 213 w 291"/>
                  <a:gd name="T17" fmla="*/ 73 h 188"/>
                  <a:gd name="T18" fmla="*/ 177 w 291"/>
                  <a:gd name="T19" fmla="*/ 37 h 188"/>
                  <a:gd name="T20" fmla="*/ 171 w 291"/>
                  <a:gd name="T21" fmla="*/ 22 h 188"/>
                  <a:gd name="T22" fmla="*/ 177 w 291"/>
                  <a:gd name="T23" fmla="*/ 6 h 188"/>
                  <a:gd name="T24" fmla="*/ 192 w 291"/>
                  <a:gd name="T25" fmla="*/ 0 h 188"/>
                  <a:gd name="T26" fmla="*/ 207 w 291"/>
                  <a:gd name="T27" fmla="*/ 6 h 188"/>
                  <a:gd name="T28" fmla="*/ 280 w 291"/>
                  <a:gd name="T29" fmla="*/ 79 h 188"/>
                  <a:gd name="T30" fmla="*/ 282 w 291"/>
                  <a:gd name="T31" fmla="*/ 81 h 188"/>
                  <a:gd name="T32" fmla="*/ 291 w 291"/>
                  <a:gd name="T33" fmla="*/ 94 h 188"/>
                  <a:gd name="T34" fmla="*/ 282 w 291"/>
                  <a:gd name="T35" fmla="*/ 107 h 188"/>
                  <a:gd name="T36" fmla="*/ 280 w 291"/>
                  <a:gd name="T37" fmla="*/ 109 h 188"/>
                  <a:gd name="T38" fmla="*/ 207 w 291"/>
                  <a:gd name="T39" fmla="*/ 182 h 188"/>
                  <a:gd name="T40" fmla="*/ 192 w 291"/>
                  <a:gd name="T41" fmla="*/ 188 h 188"/>
                  <a:gd name="T42" fmla="*/ 22 w 291"/>
                  <a:gd name="T43" fmla="*/ 81 h 188"/>
                  <a:gd name="T44" fmla="*/ 9 w 291"/>
                  <a:gd name="T45" fmla="*/ 94 h 188"/>
                  <a:gd name="T46" fmla="*/ 22 w 291"/>
                  <a:gd name="T47" fmla="*/ 107 h 188"/>
                  <a:gd name="T48" fmla="*/ 234 w 291"/>
                  <a:gd name="T49" fmla="*/ 107 h 188"/>
                  <a:gd name="T50" fmla="*/ 183 w 291"/>
                  <a:gd name="T51" fmla="*/ 158 h 188"/>
                  <a:gd name="T52" fmla="*/ 180 w 291"/>
                  <a:gd name="T53" fmla="*/ 166 h 188"/>
                  <a:gd name="T54" fmla="*/ 183 w 291"/>
                  <a:gd name="T55" fmla="*/ 175 h 188"/>
                  <a:gd name="T56" fmla="*/ 201 w 291"/>
                  <a:gd name="T57" fmla="*/ 175 h 188"/>
                  <a:gd name="T58" fmla="*/ 273 w 291"/>
                  <a:gd name="T59" fmla="*/ 103 h 188"/>
                  <a:gd name="T60" fmla="*/ 276 w 291"/>
                  <a:gd name="T61" fmla="*/ 100 h 188"/>
                  <a:gd name="T62" fmla="*/ 282 w 291"/>
                  <a:gd name="T63" fmla="*/ 94 h 188"/>
                  <a:gd name="T64" fmla="*/ 276 w 291"/>
                  <a:gd name="T65" fmla="*/ 88 h 188"/>
                  <a:gd name="T66" fmla="*/ 273 w 291"/>
                  <a:gd name="T67" fmla="*/ 85 h 188"/>
                  <a:gd name="T68" fmla="*/ 201 w 291"/>
                  <a:gd name="T69" fmla="*/ 13 h 188"/>
                  <a:gd name="T70" fmla="*/ 183 w 291"/>
                  <a:gd name="T71" fmla="*/ 13 h 188"/>
                  <a:gd name="T72" fmla="*/ 180 w 291"/>
                  <a:gd name="T73" fmla="*/ 22 h 188"/>
                  <a:gd name="T74" fmla="*/ 183 w 291"/>
                  <a:gd name="T75" fmla="*/ 31 h 188"/>
                  <a:gd name="T76" fmla="*/ 234 w 291"/>
                  <a:gd name="T77" fmla="*/ 81 h 188"/>
                  <a:gd name="T78" fmla="*/ 22 w 291"/>
                  <a:gd name="T79" fmla="*/ 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1" h="188">
                    <a:moveTo>
                      <a:pt x="192" y="188"/>
                    </a:moveTo>
                    <a:cubicBezTo>
                      <a:pt x="186" y="188"/>
                      <a:pt x="181" y="186"/>
                      <a:pt x="177" y="182"/>
                    </a:cubicBezTo>
                    <a:cubicBezTo>
                      <a:pt x="173" y="178"/>
                      <a:pt x="171" y="172"/>
                      <a:pt x="171" y="166"/>
                    </a:cubicBezTo>
                    <a:cubicBezTo>
                      <a:pt x="171" y="161"/>
                      <a:pt x="173" y="155"/>
                      <a:pt x="177" y="151"/>
                    </a:cubicBezTo>
                    <a:cubicBezTo>
                      <a:pt x="213" y="116"/>
                      <a:pt x="213" y="116"/>
                      <a:pt x="213" y="116"/>
                    </a:cubicBezTo>
                    <a:cubicBezTo>
                      <a:pt x="22" y="116"/>
                      <a:pt x="22" y="116"/>
                      <a:pt x="22" y="116"/>
                    </a:cubicBezTo>
                    <a:cubicBezTo>
                      <a:pt x="12" y="116"/>
                      <a:pt x="0" y="110"/>
                      <a:pt x="0" y="94"/>
                    </a:cubicBezTo>
                    <a:cubicBezTo>
                      <a:pt x="0" y="78"/>
                      <a:pt x="12" y="73"/>
                      <a:pt x="22" y="73"/>
                    </a:cubicBezTo>
                    <a:cubicBezTo>
                      <a:pt x="213" y="73"/>
                      <a:pt x="213" y="73"/>
                      <a:pt x="213" y="73"/>
                    </a:cubicBezTo>
                    <a:cubicBezTo>
                      <a:pt x="177" y="37"/>
                      <a:pt x="177" y="37"/>
                      <a:pt x="177" y="37"/>
                    </a:cubicBezTo>
                    <a:cubicBezTo>
                      <a:pt x="173" y="33"/>
                      <a:pt x="171" y="27"/>
                      <a:pt x="171" y="22"/>
                    </a:cubicBezTo>
                    <a:cubicBezTo>
                      <a:pt x="171" y="16"/>
                      <a:pt x="173" y="11"/>
                      <a:pt x="177" y="6"/>
                    </a:cubicBezTo>
                    <a:cubicBezTo>
                      <a:pt x="181" y="2"/>
                      <a:pt x="186" y="0"/>
                      <a:pt x="192" y="0"/>
                    </a:cubicBezTo>
                    <a:cubicBezTo>
                      <a:pt x="198" y="0"/>
                      <a:pt x="203" y="2"/>
                      <a:pt x="207" y="6"/>
                    </a:cubicBezTo>
                    <a:cubicBezTo>
                      <a:pt x="280" y="79"/>
                      <a:pt x="280" y="79"/>
                      <a:pt x="280" y="79"/>
                    </a:cubicBezTo>
                    <a:cubicBezTo>
                      <a:pt x="280" y="79"/>
                      <a:pt x="281" y="80"/>
                      <a:pt x="282" y="81"/>
                    </a:cubicBezTo>
                    <a:cubicBezTo>
                      <a:pt x="286" y="84"/>
                      <a:pt x="291" y="89"/>
                      <a:pt x="291" y="94"/>
                    </a:cubicBezTo>
                    <a:cubicBezTo>
                      <a:pt x="291" y="100"/>
                      <a:pt x="286" y="104"/>
                      <a:pt x="282" y="107"/>
                    </a:cubicBezTo>
                    <a:cubicBezTo>
                      <a:pt x="281" y="108"/>
                      <a:pt x="280" y="109"/>
                      <a:pt x="280" y="109"/>
                    </a:cubicBezTo>
                    <a:cubicBezTo>
                      <a:pt x="207" y="182"/>
                      <a:pt x="207" y="182"/>
                      <a:pt x="207" y="182"/>
                    </a:cubicBezTo>
                    <a:cubicBezTo>
                      <a:pt x="203" y="186"/>
                      <a:pt x="198" y="188"/>
                      <a:pt x="192" y="188"/>
                    </a:cubicBezTo>
                    <a:close/>
                    <a:moveTo>
                      <a:pt x="22" y="81"/>
                    </a:moveTo>
                    <a:cubicBezTo>
                      <a:pt x="17" y="81"/>
                      <a:pt x="9" y="83"/>
                      <a:pt x="9" y="94"/>
                    </a:cubicBezTo>
                    <a:cubicBezTo>
                      <a:pt x="9" y="105"/>
                      <a:pt x="17" y="107"/>
                      <a:pt x="22" y="107"/>
                    </a:cubicBezTo>
                    <a:cubicBezTo>
                      <a:pt x="234" y="107"/>
                      <a:pt x="234" y="107"/>
                      <a:pt x="234" y="107"/>
                    </a:cubicBezTo>
                    <a:cubicBezTo>
                      <a:pt x="183" y="158"/>
                      <a:pt x="183" y="158"/>
                      <a:pt x="183" y="158"/>
                    </a:cubicBezTo>
                    <a:cubicBezTo>
                      <a:pt x="181" y="160"/>
                      <a:pt x="180" y="163"/>
                      <a:pt x="180" y="166"/>
                    </a:cubicBezTo>
                    <a:cubicBezTo>
                      <a:pt x="180" y="170"/>
                      <a:pt x="181" y="173"/>
                      <a:pt x="183" y="175"/>
                    </a:cubicBezTo>
                    <a:cubicBezTo>
                      <a:pt x="188" y="180"/>
                      <a:pt x="196" y="180"/>
                      <a:pt x="201" y="175"/>
                    </a:cubicBezTo>
                    <a:cubicBezTo>
                      <a:pt x="273" y="103"/>
                      <a:pt x="273" y="103"/>
                      <a:pt x="273" y="103"/>
                    </a:cubicBezTo>
                    <a:cubicBezTo>
                      <a:pt x="274" y="102"/>
                      <a:pt x="275" y="101"/>
                      <a:pt x="276" y="100"/>
                    </a:cubicBezTo>
                    <a:cubicBezTo>
                      <a:pt x="278" y="99"/>
                      <a:pt x="282" y="95"/>
                      <a:pt x="282" y="94"/>
                    </a:cubicBezTo>
                    <a:cubicBezTo>
                      <a:pt x="282" y="93"/>
                      <a:pt x="278" y="89"/>
                      <a:pt x="276" y="88"/>
                    </a:cubicBezTo>
                    <a:cubicBezTo>
                      <a:pt x="275" y="87"/>
                      <a:pt x="274" y="86"/>
                      <a:pt x="273" y="85"/>
                    </a:cubicBezTo>
                    <a:cubicBezTo>
                      <a:pt x="201" y="13"/>
                      <a:pt x="201" y="13"/>
                      <a:pt x="201" y="13"/>
                    </a:cubicBezTo>
                    <a:cubicBezTo>
                      <a:pt x="196" y="8"/>
                      <a:pt x="188" y="8"/>
                      <a:pt x="183" y="13"/>
                    </a:cubicBezTo>
                    <a:cubicBezTo>
                      <a:pt x="181" y="15"/>
                      <a:pt x="180" y="18"/>
                      <a:pt x="180" y="22"/>
                    </a:cubicBezTo>
                    <a:cubicBezTo>
                      <a:pt x="180" y="25"/>
                      <a:pt x="181" y="28"/>
                      <a:pt x="183" y="31"/>
                    </a:cubicBezTo>
                    <a:cubicBezTo>
                      <a:pt x="234" y="81"/>
                      <a:pt x="234" y="81"/>
                      <a:pt x="234" y="81"/>
                    </a:cubicBezTo>
                    <a:lnTo>
                      <a:pt x="2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59" name="Freeform 14"/>
              <p:cNvSpPr>
                <a:spLocks noEditPoints="1"/>
              </p:cNvSpPr>
              <p:nvPr userDrawn="1"/>
            </p:nvSpPr>
            <p:spPr bwMode="black">
              <a:xfrm>
                <a:off x="9024032" y="1906648"/>
                <a:ext cx="89399" cy="91152"/>
              </a:xfrm>
              <a:custGeom>
                <a:avLst/>
                <a:gdLst>
                  <a:gd name="T0" fmla="*/ 22 w 43"/>
                  <a:gd name="T1" fmla="*/ 44 h 44"/>
                  <a:gd name="T2" fmla="*/ 0 w 43"/>
                  <a:gd name="T3" fmla="*/ 22 h 44"/>
                  <a:gd name="T4" fmla="*/ 22 w 43"/>
                  <a:gd name="T5" fmla="*/ 0 h 44"/>
                  <a:gd name="T6" fmla="*/ 43 w 43"/>
                  <a:gd name="T7" fmla="*/ 22 h 44"/>
                  <a:gd name="T8" fmla="*/ 22 w 43"/>
                  <a:gd name="T9" fmla="*/ 44 h 44"/>
                  <a:gd name="T10" fmla="*/ 22 w 43"/>
                  <a:gd name="T11" fmla="*/ 9 h 44"/>
                  <a:gd name="T12" fmla="*/ 9 w 43"/>
                  <a:gd name="T13" fmla="*/ 22 h 44"/>
                  <a:gd name="T14" fmla="*/ 22 w 43"/>
                  <a:gd name="T15" fmla="*/ 35 h 44"/>
                  <a:gd name="T16" fmla="*/ 34 w 43"/>
                  <a:gd name="T17" fmla="*/ 22 h 44"/>
                  <a:gd name="T18" fmla="*/ 22 w 43"/>
                  <a:gd name="T19"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4">
                    <a:moveTo>
                      <a:pt x="22" y="44"/>
                    </a:moveTo>
                    <a:cubicBezTo>
                      <a:pt x="10" y="44"/>
                      <a:pt x="0" y="34"/>
                      <a:pt x="0" y="22"/>
                    </a:cubicBezTo>
                    <a:cubicBezTo>
                      <a:pt x="0" y="10"/>
                      <a:pt x="10" y="0"/>
                      <a:pt x="22" y="0"/>
                    </a:cubicBezTo>
                    <a:cubicBezTo>
                      <a:pt x="33" y="0"/>
                      <a:pt x="43" y="10"/>
                      <a:pt x="43" y="22"/>
                    </a:cubicBezTo>
                    <a:cubicBezTo>
                      <a:pt x="43" y="34"/>
                      <a:pt x="33" y="44"/>
                      <a:pt x="22" y="44"/>
                    </a:cubicBezTo>
                    <a:close/>
                    <a:moveTo>
                      <a:pt x="22" y="9"/>
                    </a:moveTo>
                    <a:cubicBezTo>
                      <a:pt x="15" y="9"/>
                      <a:pt x="9" y="15"/>
                      <a:pt x="9" y="22"/>
                    </a:cubicBezTo>
                    <a:cubicBezTo>
                      <a:pt x="9" y="29"/>
                      <a:pt x="15" y="35"/>
                      <a:pt x="22" y="35"/>
                    </a:cubicBezTo>
                    <a:cubicBezTo>
                      <a:pt x="29" y="35"/>
                      <a:pt x="34" y="29"/>
                      <a:pt x="34" y="22"/>
                    </a:cubicBezTo>
                    <a:cubicBezTo>
                      <a:pt x="34" y="15"/>
                      <a:pt x="29" y="9"/>
                      <a:pt x="22"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grpSp>
        <p:nvGrpSpPr>
          <p:cNvPr id="63" name="spaceman"/>
          <p:cNvGrpSpPr/>
          <p:nvPr userDrawn="1"/>
        </p:nvGrpSpPr>
        <p:grpSpPr bwMode="black">
          <a:xfrm rot="21402827">
            <a:off x="10761289" y="3979771"/>
            <a:ext cx="977433" cy="1700309"/>
            <a:chOff x="10831129" y="421994"/>
            <a:chExt cx="977433" cy="1700309"/>
          </a:xfrm>
        </p:grpSpPr>
        <p:sp>
          <p:nvSpPr>
            <p:cNvPr id="64" name="Freeform 21"/>
            <p:cNvSpPr>
              <a:spLocks/>
            </p:cNvSpPr>
            <p:nvPr userDrawn="1"/>
          </p:nvSpPr>
          <p:spPr bwMode="black">
            <a:xfrm>
              <a:off x="10891558" y="1560317"/>
              <a:ext cx="586913" cy="561986"/>
            </a:xfrm>
            <a:custGeom>
              <a:avLst/>
              <a:gdLst>
                <a:gd name="T0" fmla="*/ 35 w 329"/>
                <a:gd name="T1" fmla="*/ 315 h 315"/>
                <a:gd name="T2" fmla="*/ 31 w 329"/>
                <a:gd name="T3" fmla="*/ 308 h 315"/>
                <a:gd name="T4" fmla="*/ 74 w 329"/>
                <a:gd name="T5" fmla="*/ 136 h 315"/>
                <a:gd name="T6" fmla="*/ 121 w 329"/>
                <a:gd name="T7" fmla="*/ 85 h 315"/>
                <a:gd name="T8" fmla="*/ 85 w 329"/>
                <a:gd name="T9" fmla="*/ 70 h 315"/>
                <a:gd name="T10" fmla="*/ 75 w 329"/>
                <a:gd name="T11" fmla="*/ 69 h 315"/>
                <a:gd name="T12" fmla="*/ 83 w 329"/>
                <a:gd name="T13" fmla="*/ 62 h 315"/>
                <a:gd name="T14" fmla="*/ 208 w 329"/>
                <a:gd name="T15" fmla="*/ 21 h 315"/>
                <a:gd name="T16" fmla="*/ 204 w 329"/>
                <a:gd name="T17" fmla="*/ 29 h 315"/>
                <a:gd name="T18" fmla="*/ 96 w 329"/>
                <a:gd name="T19" fmla="*/ 63 h 315"/>
                <a:gd name="T20" fmla="*/ 130 w 329"/>
                <a:gd name="T21" fmla="*/ 83 h 315"/>
                <a:gd name="T22" fmla="*/ 79 w 329"/>
                <a:gd name="T23" fmla="*/ 143 h 315"/>
                <a:gd name="T24" fmla="*/ 34 w 329"/>
                <a:gd name="T25" fmla="*/ 296 h 315"/>
                <a:gd name="T26" fmla="*/ 171 w 329"/>
                <a:gd name="T27" fmla="*/ 185 h 315"/>
                <a:gd name="T28" fmla="*/ 210 w 329"/>
                <a:gd name="T29" fmla="*/ 190 h 315"/>
                <a:gd name="T30" fmla="*/ 214 w 329"/>
                <a:gd name="T31" fmla="*/ 201 h 315"/>
                <a:gd name="T32" fmla="*/ 194 w 329"/>
                <a:gd name="T33" fmla="*/ 226 h 315"/>
                <a:gd name="T34" fmla="*/ 179 w 329"/>
                <a:gd name="T35" fmla="*/ 286 h 315"/>
                <a:gd name="T36" fmla="*/ 203 w 329"/>
                <a:gd name="T37" fmla="*/ 258 h 315"/>
                <a:gd name="T38" fmla="*/ 219 w 329"/>
                <a:gd name="T39" fmla="*/ 250 h 315"/>
                <a:gd name="T40" fmla="*/ 270 w 329"/>
                <a:gd name="T41" fmla="*/ 223 h 315"/>
                <a:gd name="T42" fmla="*/ 318 w 329"/>
                <a:gd name="T43" fmla="*/ 148 h 315"/>
                <a:gd name="T44" fmla="*/ 304 w 329"/>
                <a:gd name="T45" fmla="*/ 85 h 315"/>
                <a:gd name="T46" fmla="*/ 311 w 329"/>
                <a:gd name="T47" fmla="*/ 80 h 315"/>
                <a:gd name="T48" fmla="*/ 326 w 329"/>
                <a:gd name="T49" fmla="*/ 149 h 315"/>
                <a:gd name="T50" fmla="*/ 275 w 329"/>
                <a:gd name="T51" fmla="*/ 230 h 315"/>
                <a:gd name="T52" fmla="*/ 223 w 329"/>
                <a:gd name="T53" fmla="*/ 258 h 315"/>
                <a:gd name="T54" fmla="*/ 207 w 329"/>
                <a:gd name="T55" fmla="*/ 266 h 315"/>
                <a:gd name="T56" fmla="*/ 184 w 329"/>
                <a:gd name="T57" fmla="*/ 297 h 315"/>
                <a:gd name="T58" fmla="*/ 182 w 329"/>
                <a:gd name="T59" fmla="*/ 308 h 315"/>
                <a:gd name="T60" fmla="*/ 176 w 329"/>
                <a:gd name="T61" fmla="*/ 299 h 315"/>
                <a:gd name="T62" fmla="*/ 189 w 329"/>
                <a:gd name="T63" fmla="*/ 220 h 315"/>
                <a:gd name="T64" fmla="*/ 205 w 329"/>
                <a:gd name="T65" fmla="*/ 200 h 315"/>
                <a:gd name="T66" fmla="*/ 204 w 329"/>
                <a:gd name="T67" fmla="*/ 196 h 315"/>
                <a:gd name="T68" fmla="*/ 173 w 329"/>
                <a:gd name="T69" fmla="*/ 193 h 315"/>
                <a:gd name="T70" fmla="*/ 39 w 329"/>
                <a:gd name="T71" fmla="*/ 307 h 315"/>
                <a:gd name="T72" fmla="*/ 35 w 329"/>
                <a:gd name="T73" fmla="*/ 31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9" h="315">
                  <a:moveTo>
                    <a:pt x="35" y="315"/>
                  </a:moveTo>
                  <a:cubicBezTo>
                    <a:pt x="31" y="308"/>
                    <a:pt x="31" y="308"/>
                    <a:pt x="31" y="308"/>
                  </a:cubicBezTo>
                  <a:cubicBezTo>
                    <a:pt x="8" y="269"/>
                    <a:pt x="0" y="188"/>
                    <a:pt x="74" y="136"/>
                  </a:cubicBezTo>
                  <a:cubicBezTo>
                    <a:pt x="118" y="106"/>
                    <a:pt x="123" y="91"/>
                    <a:pt x="121" y="85"/>
                  </a:cubicBezTo>
                  <a:cubicBezTo>
                    <a:pt x="119" y="75"/>
                    <a:pt x="93" y="71"/>
                    <a:pt x="85" y="70"/>
                  </a:cubicBezTo>
                  <a:cubicBezTo>
                    <a:pt x="75" y="69"/>
                    <a:pt x="75" y="69"/>
                    <a:pt x="75" y="69"/>
                  </a:cubicBezTo>
                  <a:cubicBezTo>
                    <a:pt x="83" y="62"/>
                    <a:pt x="83" y="62"/>
                    <a:pt x="83" y="62"/>
                  </a:cubicBezTo>
                  <a:cubicBezTo>
                    <a:pt x="86" y="60"/>
                    <a:pt x="158" y="0"/>
                    <a:pt x="208" y="21"/>
                  </a:cubicBezTo>
                  <a:cubicBezTo>
                    <a:pt x="204" y="29"/>
                    <a:pt x="204" y="29"/>
                    <a:pt x="204" y="29"/>
                  </a:cubicBezTo>
                  <a:cubicBezTo>
                    <a:pt x="168" y="14"/>
                    <a:pt x="115" y="48"/>
                    <a:pt x="96" y="63"/>
                  </a:cubicBezTo>
                  <a:cubicBezTo>
                    <a:pt x="112" y="66"/>
                    <a:pt x="127" y="71"/>
                    <a:pt x="130" y="83"/>
                  </a:cubicBezTo>
                  <a:cubicBezTo>
                    <a:pt x="133" y="98"/>
                    <a:pt x="117" y="117"/>
                    <a:pt x="79" y="143"/>
                  </a:cubicBezTo>
                  <a:cubicBezTo>
                    <a:pt x="14" y="188"/>
                    <a:pt x="17" y="257"/>
                    <a:pt x="34" y="296"/>
                  </a:cubicBezTo>
                  <a:cubicBezTo>
                    <a:pt x="67" y="231"/>
                    <a:pt x="126" y="193"/>
                    <a:pt x="171" y="185"/>
                  </a:cubicBezTo>
                  <a:cubicBezTo>
                    <a:pt x="189" y="182"/>
                    <a:pt x="203" y="183"/>
                    <a:pt x="210" y="190"/>
                  </a:cubicBezTo>
                  <a:cubicBezTo>
                    <a:pt x="213" y="193"/>
                    <a:pt x="214" y="197"/>
                    <a:pt x="214" y="201"/>
                  </a:cubicBezTo>
                  <a:cubicBezTo>
                    <a:pt x="213" y="208"/>
                    <a:pt x="207" y="216"/>
                    <a:pt x="194" y="226"/>
                  </a:cubicBezTo>
                  <a:cubicBezTo>
                    <a:pt x="168" y="248"/>
                    <a:pt x="173" y="273"/>
                    <a:pt x="179" y="286"/>
                  </a:cubicBezTo>
                  <a:cubicBezTo>
                    <a:pt x="182" y="277"/>
                    <a:pt x="189" y="265"/>
                    <a:pt x="203" y="258"/>
                  </a:cubicBezTo>
                  <a:cubicBezTo>
                    <a:pt x="207" y="256"/>
                    <a:pt x="213" y="253"/>
                    <a:pt x="219" y="250"/>
                  </a:cubicBezTo>
                  <a:cubicBezTo>
                    <a:pt x="236" y="242"/>
                    <a:pt x="260" y="231"/>
                    <a:pt x="270" y="223"/>
                  </a:cubicBezTo>
                  <a:cubicBezTo>
                    <a:pt x="299" y="203"/>
                    <a:pt x="314" y="180"/>
                    <a:pt x="318" y="148"/>
                  </a:cubicBezTo>
                  <a:cubicBezTo>
                    <a:pt x="320" y="125"/>
                    <a:pt x="316" y="104"/>
                    <a:pt x="304" y="85"/>
                  </a:cubicBezTo>
                  <a:cubicBezTo>
                    <a:pt x="311" y="80"/>
                    <a:pt x="311" y="80"/>
                    <a:pt x="311" y="80"/>
                  </a:cubicBezTo>
                  <a:cubicBezTo>
                    <a:pt x="324" y="101"/>
                    <a:pt x="329" y="124"/>
                    <a:pt x="326" y="149"/>
                  </a:cubicBezTo>
                  <a:cubicBezTo>
                    <a:pt x="322" y="183"/>
                    <a:pt x="306" y="209"/>
                    <a:pt x="275" y="230"/>
                  </a:cubicBezTo>
                  <a:cubicBezTo>
                    <a:pt x="264" y="238"/>
                    <a:pt x="241" y="249"/>
                    <a:pt x="223" y="258"/>
                  </a:cubicBezTo>
                  <a:cubicBezTo>
                    <a:pt x="216" y="261"/>
                    <a:pt x="211" y="264"/>
                    <a:pt x="207" y="266"/>
                  </a:cubicBezTo>
                  <a:cubicBezTo>
                    <a:pt x="188" y="275"/>
                    <a:pt x="184" y="297"/>
                    <a:pt x="184" y="297"/>
                  </a:cubicBezTo>
                  <a:cubicBezTo>
                    <a:pt x="182" y="308"/>
                    <a:pt x="182" y="308"/>
                    <a:pt x="182" y="308"/>
                  </a:cubicBezTo>
                  <a:cubicBezTo>
                    <a:pt x="176" y="299"/>
                    <a:pt x="176" y="299"/>
                    <a:pt x="176" y="299"/>
                  </a:cubicBezTo>
                  <a:cubicBezTo>
                    <a:pt x="176" y="299"/>
                    <a:pt x="145" y="255"/>
                    <a:pt x="189" y="220"/>
                  </a:cubicBezTo>
                  <a:cubicBezTo>
                    <a:pt x="202" y="209"/>
                    <a:pt x="205" y="203"/>
                    <a:pt x="205" y="200"/>
                  </a:cubicBezTo>
                  <a:cubicBezTo>
                    <a:pt x="205" y="199"/>
                    <a:pt x="205" y="197"/>
                    <a:pt x="204" y="196"/>
                  </a:cubicBezTo>
                  <a:cubicBezTo>
                    <a:pt x="200" y="193"/>
                    <a:pt x="191" y="190"/>
                    <a:pt x="173" y="193"/>
                  </a:cubicBezTo>
                  <a:cubicBezTo>
                    <a:pt x="139" y="200"/>
                    <a:pt x="73" y="231"/>
                    <a:pt x="39" y="307"/>
                  </a:cubicBezTo>
                  <a:lnTo>
                    <a:pt x="35" y="31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5" name="Freeform 22"/>
            <p:cNvSpPr>
              <a:spLocks/>
            </p:cNvSpPr>
            <p:nvPr userDrawn="1"/>
          </p:nvSpPr>
          <p:spPr bwMode="black">
            <a:xfrm>
              <a:off x="10831129" y="1332199"/>
              <a:ext cx="351242" cy="435086"/>
            </a:xfrm>
            <a:custGeom>
              <a:avLst/>
              <a:gdLst>
                <a:gd name="T0" fmla="*/ 55 w 197"/>
                <a:gd name="T1" fmla="*/ 244 h 244"/>
                <a:gd name="T2" fmla="*/ 48 w 197"/>
                <a:gd name="T3" fmla="*/ 240 h 244"/>
                <a:gd name="T4" fmla="*/ 16 w 197"/>
                <a:gd name="T5" fmla="*/ 135 h 244"/>
                <a:gd name="T6" fmla="*/ 65 w 197"/>
                <a:gd name="T7" fmla="*/ 75 h 244"/>
                <a:gd name="T8" fmla="*/ 87 w 197"/>
                <a:gd name="T9" fmla="*/ 48 h 244"/>
                <a:gd name="T10" fmla="*/ 52 w 197"/>
                <a:gd name="T11" fmla="*/ 38 h 244"/>
                <a:gd name="T12" fmla="*/ 43 w 197"/>
                <a:gd name="T13" fmla="*/ 38 h 244"/>
                <a:gd name="T14" fmla="*/ 48 w 197"/>
                <a:gd name="T15" fmla="*/ 31 h 244"/>
                <a:gd name="T16" fmla="*/ 93 w 197"/>
                <a:gd name="T17" fmla="*/ 0 h 244"/>
                <a:gd name="T18" fmla="*/ 95 w 197"/>
                <a:gd name="T19" fmla="*/ 9 h 244"/>
                <a:gd name="T20" fmla="*/ 61 w 197"/>
                <a:gd name="T21" fmla="*/ 29 h 244"/>
                <a:gd name="T22" fmla="*/ 95 w 197"/>
                <a:gd name="T23" fmla="*/ 45 h 244"/>
                <a:gd name="T24" fmla="*/ 70 w 197"/>
                <a:gd name="T25" fmla="*/ 82 h 244"/>
                <a:gd name="T26" fmla="*/ 24 w 197"/>
                <a:gd name="T27" fmla="*/ 138 h 244"/>
                <a:gd name="T28" fmla="*/ 46 w 197"/>
                <a:gd name="T29" fmla="*/ 228 h 244"/>
                <a:gd name="T30" fmla="*/ 120 w 197"/>
                <a:gd name="T31" fmla="*/ 155 h 244"/>
                <a:gd name="T32" fmla="*/ 150 w 197"/>
                <a:gd name="T33" fmla="*/ 138 h 244"/>
                <a:gd name="T34" fmla="*/ 167 w 197"/>
                <a:gd name="T35" fmla="*/ 123 h 244"/>
                <a:gd name="T36" fmla="*/ 182 w 197"/>
                <a:gd name="T37" fmla="*/ 58 h 244"/>
                <a:gd name="T38" fmla="*/ 191 w 197"/>
                <a:gd name="T39" fmla="*/ 56 h 244"/>
                <a:gd name="T40" fmla="*/ 174 w 197"/>
                <a:gd name="T41" fmla="*/ 128 h 244"/>
                <a:gd name="T42" fmla="*/ 154 w 197"/>
                <a:gd name="T43" fmla="*/ 145 h 244"/>
                <a:gd name="T44" fmla="*/ 124 w 197"/>
                <a:gd name="T45" fmla="*/ 163 h 244"/>
                <a:gd name="T46" fmla="*/ 54 w 197"/>
                <a:gd name="T47" fmla="*/ 236 h 244"/>
                <a:gd name="T48" fmla="*/ 55 w 197"/>
                <a:gd name="T4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7" h="244">
                  <a:moveTo>
                    <a:pt x="55" y="244"/>
                  </a:moveTo>
                  <a:cubicBezTo>
                    <a:pt x="48" y="240"/>
                    <a:pt x="48" y="240"/>
                    <a:pt x="48" y="240"/>
                  </a:cubicBezTo>
                  <a:cubicBezTo>
                    <a:pt x="15" y="221"/>
                    <a:pt x="0" y="173"/>
                    <a:pt x="16" y="135"/>
                  </a:cubicBezTo>
                  <a:cubicBezTo>
                    <a:pt x="30" y="102"/>
                    <a:pt x="53" y="84"/>
                    <a:pt x="65" y="75"/>
                  </a:cubicBezTo>
                  <a:cubicBezTo>
                    <a:pt x="81" y="64"/>
                    <a:pt x="89" y="54"/>
                    <a:pt x="87" y="48"/>
                  </a:cubicBezTo>
                  <a:cubicBezTo>
                    <a:pt x="85" y="41"/>
                    <a:pt x="69" y="36"/>
                    <a:pt x="52" y="38"/>
                  </a:cubicBezTo>
                  <a:cubicBezTo>
                    <a:pt x="43" y="38"/>
                    <a:pt x="43" y="38"/>
                    <a:pt x="43" y="38"/>
                  </a:cubicBezTo>
                  <a:cubicBezTo>
                    <a:pt x="48" y="31"/>
                    <a:pt x="48" y="31"/>
                    <a:pt x="48" y="31"/>
                  </a:cubicBezTo>
                  <a:cubicBezTo>
                    <a:pt x="59" y="15"/>
                    <a:pt x="74" y="4"/>
                    <a:pt x="93" y="0"/>
                  </a:cubicBezTo>
                  <a:cubicBezTo>
                    <a:pt x="95" y="9"/>
                    <a:pt x="95" y="9"/>
                    <a:pt x="95" y="9"/>
                  </a:cubicBezTo>
                  <a:cubicBezTo>
                    <a:pt x="81" y="12"/>
                    <a:pt x="70" y="18"/>
                    <a:pt x="61" y="29"/>
                  </a:cubicBezTo>
                  <a:cubicBezTo>
                    <a:pt x="76" y="29"/>
                    <a:pt x="91" y="34"/>
                    <a:pt x="95" y="45"/>
                  </a:cubicBezTo>
                  <a:cubicBezTo>
                    <a:pt x="99" y="56"/>
                    <a:pt x="91" y="68"/>
                    <a:pt x="70" y="82"/>
                  </a:cubicBezTo>
                  <a:cubicBezTo>
                    <a:pt x="58" y="90"/>
                    <a:pt x="37" y="108"/>
                    <a:pt x="24" y="138"/>
                  </a:cubicBezTo>
                  <a:cubicBezTo>
                    <a:pt x="11" y="169"/>
                    <a:pt x="21" y="209"/>
                    <a:pt x="46" y="228"/>
                  </a:cubicBezTo>
                  <a:cubicBezTo>
                    <a:pt x="49" y="193"/>
                    <a:pt x="86" y="173"/>
                    <a:pt x="120" y="155"/>
                  </a:cubicBezTo>
                  <a:cubicBezTo>
                    <a:pt x="131" y="149"/>
                    <a:pt x="141" y="144"/>
                    <a:pt x="150" y="138"/>
                  </a:cubicBezTo>
                  <a:cubicBezTo>
                    <a:pt x="157" y="134"/>
                    <a:pt x="161" y="130"/>
                    <a:pt x="167" y="123"/>
                  </a:cubicBezTo>
                  <a:cubicBezTo>
                    <a:pt x="181" y="105"/>
                    <a:pt x="188" y="80"/>
                    <a:pt x="182" y="58"/>
                  </a:cubicBezTo>
                  <a:cubicBezTo>
                    <a:pt x="191" y="56"/>
                    <a:pt x="191" y="56"/>
                    <a:pt x="191" y="56"/>
                  </a:cubicBezTo>
                  <a:cubicBezTo>
                    <a:pt x="197" y="81"/>
                    <a:pt x="190" y="108"/>
                    <a:pt x="174" y="128"/>
                  </a:cubicBezTo>
                  <a:cubicBezTo>
                    <a:pt x="167" y="136"/>
                    <a:pt x="162" y="140"/>
                    <a:pt x="154" y="145"/>
                  </a:cubicBezTo>
                  <a:cubicBezTo>
                    <a:pt x="145" y="151"/>
                    <a:pt x="135" y="157"/>
                    <a:pt x="124" y="163"/>
                  </a:cubicBezTo>
                  <a:cubicBezTo>
                    <a:pt x="88" y="181"/>
                    <a:pt x="52" y="201"/>
                    <a:pt x="54" y="236"/>
                  </a:cubicBezTo>
                  <a:lnTo>
                    <a:pt x="55" y="24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6" name="Freeform 19"/>
            <p:cNvSpPr>
              <a:spLocks noEditPoints="1"/>
            </p:cNvSpPr>
            <p:nvPr userDrawn="1"/>
          </p:nvSpPr>
          <p:spPr bwMode="black">
            <a:xfrm>
              <a:off x="11496600" y="732445"/>
              <a:ext cx="90643" cy="83844"/>
            </a:xfrm>
            <a:custGeom>
              <a:avLst/>
              <a:gdLst>
                <a:gd name="T0" fmla="*/ 24 w 51"/>
                <a:gd name="T1" fmla="*/ 47 h 47"/>
                <a:gd name="T2" fmla="*/ 15 w 51"/>
                <a:gd name="T3" fmla="*/ 44 h 47"/>
                <a:gd name="T4" fmla="*/ 2 w 51"/>
                <a:gd name="T5" fmla="*/ 31 h 47"/>
                <a:gd name="T6" fmla="*/ 3 w 51"/>
                <a:gd name="T7" fmla="*/ 14 h 47"/>
                <a:gd name="T8" fmla="*/ 24 w 51"/>
                <a:gd name="T9" fmla="*/ 0 h 47"/>
                <a:gd name="T10" fmla="*/ 34 w 51"/>
                <a:gd name="T11" fmla="*/ 2 h 47"/>
                <a:gd name="T12" fmla="*/ 46 w 51"/>
                <a:gd name="T13" fmla="*/ 33 h 47"/>
                <a:gd name="T14" fmla="*/ 24 w 51"/>
                <a:gd name="T15" fmla="*/ 47 h 47"/>
                <a:gd name="T16" fmla="*/ 24 w 51"/>
                <a:gd name="T17" fmla="*/ 6 h 47"/>
                <a:gd name="T18" fmla="*/ 8 w 51"/>
                <a:gd name="T19" fmla="*/ 16 h 47"/>
                <a:gd name="T20" fmla="*/ 8 w 51"/>
                <a:gd name="T21" fmla="*/ 29 h 47"/>
                <a:gd name="T22" fmla="*/ 17 w 51"/>
                <a:gd name="T23" fmla="*/ 39 h 47"/>
                <a:gd name="T24" fmla="*/ 24 w 51"/>
                <a:gd name="T25" fmla="*/ 41 h 47"/>
                <a:gd name="T26" fmla="*/ 40 w 51"/>
                <a:gd name="T27" fmla="*/ 30 h 47"/>
                <a:gd name="T28" fmla="*/ 32 w 51"/>
                <a:gd name="T29" fmla="*/ 7 h 47"/>
                <a:gd name="T30" fmla="*/ 24 w 51"/>
                <a:gd name="T31"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47">
                  <a:moveTo>
                    <a:pt x="24" y="47"/>
                  </a:moveTo>
                  <a:cubicBezTo>
                    <a:pt x="21" y="47"/>
                    <a:pt x="18" y="46"/>
                    <a:pt x="15" y="44"/>
                  </a:cubicBezTo>
                  <a:cubicBezTo>
                    <a:pt x="9" y="42"/>
                    <a:pt x="5" y="37"/>
                    <a:pt x="2" y="31"/>
                  </a:cubicBezTo>
                  <a:cubicBezTo>
                    <a:pt x="0" y="26"/>
                    <a:pt x="0" y="19"/>
                    <a:pt x="3" y="14"/>
                  </a:cubicBezTo>
                  <a:cubicBezTo>
                    <a:pt x="7" y="5"/>
                    <a:pt x="15" y="0"/>
                    <a:pt x="24" y="0"/>
                  </a:cubicBezTo>
                  <a:cubicBezTo>
                    <a:pt x="28" y="0"/>
                    <a:pt x="31" y="1"/>
                    <a:pt x="34" y="2"/>
                  </a:cubicBezTo>
                  <a:cubicBezTo>
                    <a:pt x="46" y="7"/>
                    <a:pt x="51" y="21"/>
                    <a:pt x="46" y="33"/>
                  </a:cubicBezTo>
                  <a:cubicBezTo>
                    <a:pt x="42" y="41"/>
                    <a:pt x="33" y="47"/>
                    <a:pt x="24" y="47"/>
                  </a:cubicBezTo>
                  <a:close/>
                  <a:moveTo>
                    <a:pt x="24" y="6"/>
                  </a:moveTo>
                  <a:cubicBezTo>
                    <a:pt x="17" y="6"/>
                    <a:pt x="11" y="10"/>
                    <a:pt x="8" y="16"/>
                  </a:cubicBezTo>
                  <a:cubicBezTo>
                    <a:pt x="6" y="20"/>
                    <a:pt x="6" y="25"/>
                    <a:pt x="8" y="29"/>
                  </a:cubicBezTo>
                  <a:cubicBezTo>
                    <a:pt x="9" y="34"/>
                    <a:pt x="13" y="37"/>
                    <a:pt x="17" y="39"/>
                  </a:cubicBezTo>
                  <a:cubicBezTo>
                    <a:pt x="19" y="40"/>
                    <a:pt x="22" y="41"/>
                    <a:pt x="24" y="41"/>
                  </a:cubicBezTo>
                  <a:cubicBezTo>
                    <a:pt x="31" y="41"/>
                    <a:pt x="37" y="37"/>
                    <a:pt x="40" y="30"/>
                  </a:cubicBezTo>
                  <a:cubicBezTo>
                    <a:pt x="44" y="22"/>
                    <a:pt x="40" y="11"/>
                    <a:pt x="32" y="7"/>
                  </a:cubicBezTo>
                  <a:cubicBezTo>
                    <a:pt x="29" y="6"/>
                    <a:pt x="27" y="6"/>
                    <a:pt x="2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67" name="Freeform 20"/>
            <p:cNvSpPr>
              <a:spLocks noEditPoints="1"/>
            </p:cNvSpPr>
            <p:nvPr userDrawn="1"/>
          </p:nvSpPr>
          <p:spPr bwMode="black">
            <a:xfrm>
              <a:off x="10991265" y="421994"/>
              <a:ext cx="817297" cy="1300725"/>
            </a:xfrm>
            <a:custGeom>
              <a:avLst/>
              <a:gdLst>
                <a:gd name="T0" fmla="*/ 145 w 458"/>
                <a:gd name="T1" fmla="*/ 676 h 729"/>
                <a:gd name="T2" fmla="*/ 203 w 458"/>
                <a:gd name="T3" fmla="*/ 575 h 729"/>
                <a:gd name="T4" fmla="*/ 178 w 458"/>
                <a:gd name="T5" fmla="*/ 383 h 729"/>
                <a:gd name="T6" fmla="*/ 119 w 458"/>
                <a:gd name="T7" fmla="*/ 559 h 729"/>
                <a:gd name="T8" fmla="*/ 4 w 458"/>
                <a:gd name="T9" fmla="*/ 524 h 729"/>
                <a:gd name="T10" fmla="*/ 88 w 458"/>
                <a:gd name="T11" fmla="*/ 422 h 729"/>
                <a:gd name="T12" fmla="*/ 163 w 458"/>
                <a:gd name="T13" fmla="*/ 283 h 729"/>
                <a:gd name="T14" fmla="*/ 186 w 458"/>
                <a:gd name="T15" fmla="*/ 245 h 729"/>
                <a:gd name="T16" fmla="*/ 160 w 458"/>
                <a:gd name="T17" fmla="*/ 31 h 729"/>
                <a:gd name="T18" fmla="*/ 255 w 458"/>
                <a:gd name="T19" fmla="*/ 74 h 729"/>
                <a:gd name="T20" fmla="*/ 187 w 458"/>
                <a:gd name="T21" fmla="*/ 163 h 729"/>
                <a:gd name="T22" fmla="*/ 265 w 458"/>
                <a:gd name="T23" fmla="*/ 184 h 729"/>
                <a:gd name="T24" fmla="*/ 347 w 458"/>
                <a:gd name="T25" fmla="*/ 221 h 729"/>
                <a:gd name="T26" fmla="*/ 388 w 458"/>
                <a:gd name="T27" fmla="*/ 294 h 729"/>
                <a:gd name="T28" fmla="*/ 409 w 458"/>
                <a:gd name="T29" fmla="*/ 486 h 729"/>
                <a:gd name="T30" fmla="*/ 380 w 458"/>
                <a:gd name="T31" fmla="*/ 387 h 729"/>
                <a:gd name="T32" fmla="*/ 344 w 458"/>
                <a:gd name="T33" fmla="*/ 355 h 729"/>
                <a:gd name="T34" fmla="*/ 319 w 458"/>
                <a:gd name="T35" fmla="*/ 392 h 729"/>
                <a:gd name="T36" fmla="*/ 262 w 458"/>
                <a:gd name="T37" fmla="*/ 715 h 729"/>
                <a:gd name="T38" fmla="*/ 274 w 458"/>
                <a:gd name="T39" fmla="*/ 412 h 729"/>
                <a:gd name="T40" fmla="*/ 207 w 458"/>
                <a:gd name="T41" fmla="*/ 583 h 729"/>
                <a:gd name="T42" fmla="*/ 153 w 458"/>
                <a:gd name="T43" fmla="*/ 667 h 729"/>
                <a:gd name="T44" fmla="*/ 235 w 458"/>
                <a:gd name="T45" fmla="*/ 720 h 729"/>
                <a:gd name="T46" fmla="*/ 263 w 458"/>
                <a:gd name="T47" fmla="*/ 606 h 729"/>
                <a:gd name="T48" fmla="*/ 311 w 458"/>
                <a:gd name="T49" fmla="*/ 389 h 729"/>
                <a:gd name="T50" fmla="*/ 333 w 458"/>
                <a:gd name="T51" fmla="*/ 360 h 729"/>
                <a:gd name="T52" fmla="*/ 346 w 458"/>
                <a:gd name="T53" fmla="*/ 312 h 729"/>
                <a:gd name="T54" fmla="*/ 389 w 458"/>
                <a:gd name="T55" fmla="*/ 390 h 729"/>
                <a:gd name="T56" fmla="*/ 359 w 458"/>
                <a:gd name="T57" fmla="*/ 441 h 729"/>
                <a:gd name="T58" fmla="*/ 445 w 458"/>
                <a:gd name="T59" fmla="*/ 428 h 729"/>
                <a:gd name="T60" fmla="*/ 418 w 458"/>
                <a:gd name="T61" fmla="*/ 391 h 729"/>
                <a:gd name="T62" fmla="*/ 345 w 458"/>
                <a:gd name="T63" fmla="*/ 279 h 729"/>
                <a:gd name="T64" fmla="*/ 331 w 458"/>
                <a:gd name="T65" fmla="*/ 240 h 729"/>
                <a:gd name="T66" fmla="*/ 321 w 458"/>
                <a:gd name="T67" fmla="*/ 170 h 729"/>
                <a:gd name="T68" fmla="*/ 263 w 458"/>
                <a:gd name="T69" fmla="*/ 207 h 729"/>
                <a:gd name="T70" fmla="*/ 226 w 458"/>
                <a:gd name="T71" fmla="*/ 223 h 729"/>
                <a:gd name="T72" fmla="*/ 179 w 458"/>
                <a:gd name="T73" fmla="*/ 166 h 729"/>
                <a:gd name="T74" fmla="*/ 199 w 458"/>
                <a:gd name="T75" fmla="*/ 95 h 729"/>
                <a:gd name="T76" fmla="*/ 225 w 458"/>
                <a:gd name="T77" fmla="*/ 13 h 729"/>
                <a:gd name="T78" fmla="*/ 171 w 458"/>
                <a:gd name="T79" fmla="*/ 76 h 729"/>
                <a:gd name="T80" fmla="*/ 151 w 458"/>
                <a:gd name="T81" fmla="*/ 176 h 729"/>
                <a:gd name="T82" fmla="*/ 196 w 458"/>
                <a:gd name="T83" fmla="*/ 247 h 729"/>
                <a:gd name="T84" fmla="*/ 171 w 458"/>
                <a:gd name="T85" fmla="*/ 285 h 729"/>
                <a:gd name="T86" fmla="*/ 164 w 458"/>
                <a:gd name="T87" fmla="*/ 333 h 729"/>
                <a:gd name="T88" fmla="*/ 92 w 458"/>
                <a:gd name="T89" fmla="*/ 430 h 729"/>
                <a:gd name="T90" fmla="*/ 12 w 458"/>
                <a:gd name="T91" fmla="*/ 510 h 729"/>
                <a:gd name="T92" fmla="*/ 94 w 458"/>
                <a:gd name="T93" fmla="*/ 563 h 729"/>
                <a:gd name="T94" fmla="*/ 131 w 458"/>
                <a:gd name="T95" fmla="*/ 510 h 729"/>
                <a:gd name="T96" fmla="*/ 134 w 458"/>
                <a:gd name="T97" fmla="*/ 448 h 729"/>
                <a:gd name="T98" fmla="*/ 182 w 458"/>
                <a:gd name="T99" fmla="*/ 373 h 729"/>
                <a:gd name="T100" fmla="*/ 277 w 458"/>
                <a:gd name="T101" fmla="*/ 40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8" h="729">
                  <a:moveTo>
                    <a:pt x="235" y="729"/>
                  </a:moveTo>
                  <a:cubicBezTo>
                    <a:pt x="224" y="729"/>
                    <a:pt x="212" y="726"/>
                    <a:pt x="199" y="719"/>
                  </a:cubicBezTo>
                  <a:cubicBezTo>
                    <a:pt x="167" y="705"/>
                    <a:pt x="149" y="691"/>
                    <a:pt x="145" y="676"/>
                  </a:cubicBezTo>
                  <a:cubicBezTo>
                    <a:pt x="143" y="669"/>
                    <a:pt x="145" y="664"/>
                    <a:pt x="146" y="662"/>
                  </a:cubicBezTo>
                  <a:cubicBezTo>
                    <a:pt x="147" y="660"/>
                    <a:pt x="154" y="645"/>
                    <a:pt x="168" y="614"/>
                  </a:cubicBezTo>
                  <a:cubicBezTo>
                    <a:pt x="181" y="584"/>
                    <a:pt x="197" y="577"/>
                    <a:pt x="203" y="575"/>
                  </a:cubicBezTo>
                  <a:cubicBezTo>
                    <a:pt x="209" y="559"/>
                    <a:pt x="249" y="457"/>
                    <a:pt x="264" y="416"/>
                  </a:cubicBezTo>
                  <a:cubicBezTo>
                    <a:pt x="246" y="418"/>
                    <a:pt x="229" y="415"/>
                    <a:pt x="213" y="408"/>
                  </a:cubicBezTo>
                  <a:cubicBezTo>
                    <a:pt x="198" y="401"/>
                    <a:pt x="188" y="395"/>
                    <a:pt x="178" y="383"/>
                  </a:cubicBezTo>
                  <a:cubicBezTo>
                    <a:pt x="160" y="415"/>
                    <a:pt x="148" y="439"/>
                    <a:pt x="143" y="449"/>
                  </a:cubicBezTo>
                  <a:cubicBezTo>
                    <a:pt x="155" y="464"/>
                    <a:pt x="145" y="498"/>
                    <a:pt x="139" y="513"/>
                  </a:cubicBezTo>
                  <a:cubicBezTo>
                    <a:pt x="132" y="534"/>
                    <a:pt x="121" y="556"/>
                    <a:pt x="119" y="559"/>
                  </a:cubicBezTo>
                  <a:cubicBezTo>
                    <a:pt x="118" y="561"/>
                    <a:pt x="113" y="571"/>
                    <a:pt x="94" y="571"/>
                  </a:cubicBezTo>
                  <a:cubicBezTo>
                    <a:pt x="81" y="571"/>
                    <a:pt x="63" y="566"/>
                    <a:pt x="42" y="557"/>
                  </a:cubicBezTo>
                  <a:cubicBezTo>
                    <a:pt x="21" y="547"/>
                    <a:pt x="8" y="536"/>
                    <a:pt x="4" y="524"/>
                  </a:cubicBezTo>
                  <a:cubicBezTo>
                    <a:pt x="0" y="514"/>
                    <a:pt x="4" y="507"/>
                    <a:pt x="4" y="506"/>
                  </a:cubicBezTo>
                  <a:cubicBezTo>
                    <a:pt x="4" y="505"/>
                    <a:pt x="14" y="486"/>
                    <a:pt x="29" y="464"/>
                  </a:cubicBezTo>
                  <a:cubicBezTo>
                    <a:pt x="53" y="428"/>
                    <a:pt x="80" y="422"/>
                    <a:pt x="88" y="422"/>
                  </a:cubicBezTo>
                  <a:cubicBezTo>
                    <a:pt x="102" y="401"/>
                    <a:pt x="118" y="381"/>
                    <a:pt x="131" y="364"/>
                  </a:cubicBezTo>
                  <a:cubicBezTo>
                    <a:pt x="142" y="350"/>
                    <a:pt x="151" y="338"/>
                    <a:pt x="156" y="330"/>
                  </a:cubicBezTo>
                  <a:cubicBezTo>
                    <a:pt x="155" y="314"/>
                    <a:pt x="157" y="297"/>
                    <a:pt x="163" y="283"/>
                  </a:cubicBezTo>
                  <a:cubicBezTo>
                    <a:pt x="163" y="282"/>
                    <a:pt x="163" y="281"/>
                    <a:pt x="164" y="279"/>
                  </a:cubicBezTo>
                  <a:cubicBezTo>
                    <a:pt x="164" y="279"/>
                    <a:pt x="164" y="278"/>
                    <a:pt x="164" y="278"/>
                  </a:cubicBezTo>
                  <a:cubicBezTo>
                    <a:pt x="167" y="272"/>
                    <a:pt x="174" y="259"/>
                    <a:pt x="186" y="245"/>
                  </a:cubicBezTo>
                  <a:cubicBezTo>
                    <a:pt x="172" y="232"/>
                    <a:pt x="154" y="211"/>
                    <a:pt x="143" y="179"/>
                  </a:cubicBezTo>
                  <a:cubicBezTo>
                    <a:pt x="127" y="134"/>
                    <a:pt x="151" y="93"/>
                    <a:pt x="162" y="78"/>
                  </a:cubicBezTo>
                  <a:cubicBezTo>
                    <a:pt x="154" y="64"/>
                    <a:pt x="153" y="46"/>
                    <a:pt x="160" y="31"/>
                  </a:cubicBezTo>
                  <a:cubicBezTo>
                    <a:pt x="168" y="12"/>
                    <a:pt x="187" y="0"/>
                    <a:pt x="207" y="0"/>
                  </a:cubicBezTo>
                  <a:cubicBezTo>
                    <a:pt x="215" y="0"/>
                    <a:pt x="222" y="2"/>
                    <a:pt x="229" y="5"/>
                  </a:cubicBezTo>
                  <a:cubicBezTo>
                    <a:pt x="255" y="17"/>
                    <a:pt x="267" y="48"/>
                    <a:pt x="255" y="74"/>
                  </a:cubicBezTo>
                  <a:cubicBezTo>
                    <a:pt x="247" y="93"/>
                    <a:pt x="228" y="105"/>
                    <a:pt x="207" y="105"/>
                  </a:cubicBezTo>
                  <a:cubicBezTo>
                    <a:pt x="205" y="105"/>
                    <a:pt x="202" y="105"/>
                    <a:pt x="200" y="104"/>
                  </a:cubicBezTo>
                  <a:cubicBezTo>
                    <a:pt x="195" y="112"/>
                    <a:pt x="178" y="138"/>
                    <a:pt x="187" y="163"/>
                  </a:cubicBezTo>
                  <a:cubicBezTo>
                    <a:pt x="198" y="193"/>
                    <a:pt x="218" y="210"/>
                    <a:pt x="224" y="214"/>
                  </a:cubicBezTo>
                  <a:cubicBezTo>
                    <a:pt x="237" y="207"/>
                    <a:pt x="248" y="203"/>
                    <a:pt x="256" y="201"/>
                  </a:cubicBezTo>
                  <a:cubicBezTo>
                    <a:pt x="258" y="197"/>
                    <a:pt x="263" y="189"/>
                    <a:pt x="265" y="184"/>
                  </a:cubicBezTo>
                  <a:cubicBezTo>
                    <a:pt x="275" y="167"/>
                    <a:pt x="290" y="158"/>
                    <a:pt x="306" y="158"/>
                  </a:cubicBezTo>
                  <a:cubicBezTo>
                    <a:pt x="312" y="158"/>
                    <a:pt x="319" y="159"/>
                    <a:pt x="325" y="162"/>
                  </a:cubicBezTo>
                  <a:cubicBezTo>
                    <a:pt x="347" y="172"/>
                    <a:pt x="356" y="195"/>
                    <a:pt x="347" y="221"/>
                  </a:cubicBezTo>
                  <a:cubicBezTo>
                    <a:pt x="346" y="226"/>
                    <a:pt x="342" y="235"/>
                    <a:pt x="340" y="239"/>
                  </a:cubicBezTo>
                  <a:cubicBezTo>
                    <a:pt x="346" y="250"/>
                    <a:pt x="350" y="261"/>
                    <a:pt x="352" y="273"/>
                  </a:cubicBezTo>
                  <a:cubicBezTo>
                    <a:pt x="365" y="278"/>
                    <a:pt x="377" y="285"/>
                    <a:pt x="388" y="294"/>
                  </a:cubicBezTo>
                  <a:cubicBezTo>
                    <a:pt x="426" y="323"/>
                    <a:pt x="427" y="370"/>
                    <a:pt x="426" y="388"/>
                  </a:cubicBezTo>
                  <a:cubicBezTo>
                    <a:pt x="441" y="396"/>
                    <a:pt x="451" y="410"/>
                    <a:pt x="454" y="427"/>
                  </a:cubicBezTo>
                  <a:cubicBezTo>
                    <a:pt x="458" y="456"/>
                    <a:pt x="438" y="482"/>
                    <a:pt x="409" y="486"/>
                  </a:cubicBezTo>
                  <a:cubicBezTo>
                    <a:pt x="407" y="487"/>
                    <a:pt x="404" y="487"/>
                    <a:pt x="402" y="487"/>
                  </a:cubicBezTo>
                  <a:cubicBezTo>
                    <a:pt x="376" y="487"/>
                    <a:pt x="354" y="468"/>
                    <a:pt x="350" y="442"/>
                  </a:cubicBezTo>
                  <a:cubicBezTo>
                    <a:pt x="347" y="419"/>
                    <a:pt x="359" y="397"/>
                    <a:pt x="380" y="387"/>
                  </a:cubicBezTo>
                  <a:cubicBezTo>
                    <a:pt x="381" y="378"/>
                    <a:pt x="380" y="347"/>
                    <a:pt x="359" y="331"/>
                  </a:cubicBezTo>
                  <a:cubicBezTo>
                    <a:pt x="357" y="329"/>
                    <a:pt x="355" y="328"/>
                    <a:pt x="353" y="326"/>
                  </a:cubicBezTo>
                  <a:cubicBezTo>
                    <a:pt x="351" y="339"/>
                    <a:pt x="347" y="349"/>
                    <a:pt x="344" y="355"/>
                  </a:cubicBezTo>
                  <a:cubicBezTo>
                    <a:pt x="344" y="355"/>
                    <a:pt x="344" y="355"/>
                    <a:pt x="344" y="355"/>
                  </a:cubicBezTo>
                  <a:cubicBezTo>
                    <a:pt x="343" y="359"/>
                    <a:pt x="343" y="359"/>
                    <a:pt x="343" y="359"/>
                  </a:cubicBezTo>
                  <a:cubicBezTo>
                    <a:pt x="337" y="372"/>
                    <a:pt x="329" y="383"/>
                    <a:pt x="319" y="392"/>
                  </a:cubicBezTo>
                  <a:cubicBezTo>
                    <a:pt x="316" y="407"/>
                    <a:pt x="296" y="530"/>
                    <a:pt x="271" y="603"/>
                  </a:cubicBezTo>
                  <a:cubicBezTo>
                    <a:pt x="277" y="610"/>
                    <a:pt x="287" y="630"/>
                    <a:pt x="277" y="669"/>
                  </a:cubicBezTo>
                  <a:cubicBezTo>
                    <a:pt x="270" y="693"/>
                    <a:pt x="262" y="714"/>
                    <a:pt x="262" y="715"/>
                  </a:cubicBezTo>
                  <a:cubicBezTo>
                    <a:pt x="261" y="715"/>
                    <a:pt x="256" y="729"/>
                    <a:pt x="235" y="729"/>
                  </a:cubicBezTo>
                  <a:close/>
                  <a:moveTo>
                    <a:pt x="277" y="405"/>
                  </a:moveTo>
                  <a:cubicBezTo>
                    <a:pt x="274" y="412"/>
                    <a:pt x="274" y="412"/>
                    <a:pt x="274" y="412"/>
                  </a:cubicBezTo>
                  <a:cubicBezTo>
                    <a:pt x="261" y="450"/>
                    <a:pt x="211" y="579"/>
                    <a:pt x="210" y="580"/>
                  </a:cubicBezTo>
                  <a:cubicBezTo>
                    <a:pt x="209" y="582"/>
                    <a:pt x="209" y="582"/>
                    <a:pt x="209" y="582"/>
                  </a:cubicBezTo>
                  <a:cubicBezTo>
                    <a:pt x="207" y="583"/>
                    <a:pt x="207" y="583"/>
                    <a:pt x="207" y="583"/>
                  </a:cubicBezTo>
                  <a:cubicBezTo>
                    <a:pt x="207" y="583"/>
                    <a:pt x="190" y="585"/>
                    <a:pt x="176" y="618"/>
                  </a:cubicBezTo>
                  <a:cubicBezTo>
                    <a:pt x="161" y="650"/>
                    <a:pt x="154" y="666"/>
                    <a:pt x="154" y="666"/>
                  </a:cubicBezTo>
                  <a:cubicBezTo>
                    <a:pt x="153" y="667"/>
                    <a:pt x="153" y="667"/>
                    <a:pt x="153" y="667"/>
                  </a:cubicBezTo>
                  <a:cubicBezTo>
                    <a:pt x="154" y="667"/>
                    <a:pt x="152" y="669"/>
                    <a:pt x="154" y="674"/>
                  </a:cubicBezTo>
                  <a:cubicBezTo>
                    <a:pt x="156" y="681"/>
                    <a:pt x="165" y="695"/>
                    <a:pt x="202" y="711"/>
                  </a:cubicBezTo>
                  <a:cubicBezTo>
                    <a:pt x="215" y="717"/>
                    <a:pt x="226" y="720"/>
                    <a:pt x="235" y="720"/>
                  </a:cubicBezTo>
                  <a:cubicBezTo>
                    <a:pt x="250" y="720"/>
                    <a:pt x="253" y="712"/>
                    <a:pt x="254" y="711"/>
                  </a:cubicBezTo>
                  <a:cubicBezTo>
                    <a:pt x="254" y="711"/>
                    <a:pt x="262" y="691"/>
                    <a:pt x="269" y="666"/>
                  </a:cubicBezTo>
                  <a:cubicBezTo>
                    <a:pt x="279" y="628"/>
                    <a:pt x="267" y="611"/>
                    <a:pt x="263" y="606"/>
                  </a:cubicBezTo>
                  <a:cubicBezTo>
                    <a:pt x="261" y="604"/>
                    <a:pt x="261" y="604"/>
                    <a:pt x="261" y="604"/>
                  </a:cubicBezTo>
                  <a:cubicBezTo>
                    <a:pt x="262" y="602"/>
                    <a:pt x="262" y="602"/>
                    <a:pt x="262" y="602"/>
                  </a:cubicBezTo>
                  <a:cubicBezTo>
                    <a:pt x="289" y="526"/>
                    <a:pt x="310" y="390"/>
                    <a:pt x="311" y="389"/>
                  </a:cubicBezTo>
                  <a:cubicBezTo>
                    <a:pt x="311" y="387"/>
                    <a:pt x="311" y="387"/>
                    <a:pt x="311" y="387"/>
                  </a:cubicBezTo>
                  <a:cubicBezTo>
                    <a:pt x="312" y="386"/>
                    <a:pt x="312" y="386"/>
                    <a:pt x="312" y="386"/>
                  </a:cubicBezTo>
                  <a:cubicBezTo>
                    <a:pt x="321" y="379"/>
                    <a:pt x="328" y="370"/>
                    <a:pt x="333" y="360"/>
                  </a:cubicBezTo>
                  <a:cubicBezTo>
                    <a:pt x="335" y="356"/>
                    <a:pt x="335" y="356"/>
                    <a:pt x="335" y="356"/>
                  </a:cubicBezTo>
                  <a:cubicBezTo>
                    <a:pt x="337" y="351"/>
                    <a:pt x="343" y="337"/>
                    <a:pt x="345" y="318"/>
                  </a:cubicBezTo>
                  <a:cubicBezTo>
                    <a:pt x="346" y="312"/>
                    <a:pt x="346" y="312"/>
                    <a:pt x="346" y="312"/>
                  </a:cubicBezTo>
                  <a:cubicBezTo>
                    <a:pt x="352" y="315"/>
                    <a:pt x="352" y="315"/>
                    <a:pt x="352" y="315"/>
                  </a:cubicBezTo>
                  <a:cubicBezTo>
                    <a:pt x="356" y="318"/>
                    <a:pt x="361" y="321"/>
                    <a:pt x="364" y="324"/>
                  </a:cubicBezTo>
                  <a:cubicBezTo>
                    <a:pt x="393" y="346"/>
                    <a:pt x="389" y="389"/>
                    <a:pt x="389" y="390"/>
                  </a:cubicBezTo>
                  <a:cubicBezTo>
                    <a:pt x="388" y="393"/>
                    <a:pt x="388" y="393"/>
                    <a:pt x="388" y="393"/>
                  </a:cubicBezTo>
                  <a:cubicBezTo>
                    <a:pt x="386" y="394"/>
                    <a:pt x="386" y="394"/>
                    <a:pt x="386" y="394"/>
                  </a:cubicBezTo>
                  <a:cubicBezTo>
                    <a:pt x="367" y="401"/>
                    <a:pt x="356" y="421"/>
                    <a:pt x="359" y="441"/>
                  </a:cubicBezTo>
                  <a:cubicBezTo>
                    <a:pt x="362" y="462"/>
                    <a:pt x="380" y="478"/>
                    <a:pt x="402" y="478"/>
                  </a:cubicBezTo>
                  <a:cubicBezTo>
                    <a:pt x="404" y="478"/>
                    <a:pt x="406" y="478"/>
                    <a:pt x="408" y="478"/>
                  </a:cubicBezTo>
                  <a:cubicBezTo>
                    <a:pt x="432" y="474"/>
                    <a:pt x="448" y="452"/>
                    <a:pt x="445" y="428"/>
                  </a:cubicBezTo>
                  <a:cubicBezTo>
                    <a:pt x="443" y="414"/>
                    <a:pt x="434" y="401"/>
                    <a:pt x="420" y="395"/>
                  </a:cubicBezTo>
                  <a:cubicBezTo>
                    <a:pt x="417" y="394"/>
                    <a:pt x="417" y="394"/>
                    <a:pt x="417" y="394"/>
                  </a:cubicBezTo>
                  <a:cubicBezTo>
                    <a:pt x="418" y="391"/>
                    <a:pt x="418" y="391"/>
                    <a:pt x="418" y="391"/>
                  </a:cubicBezTo>
                  <a:cubicBezTo>
                    <a:pt x="419" y="377"/>
                    <a:pt x="419" y="329"/>
                    <a:pt x="383" y="300"/>
                  </a:cubicBezTo>
                  <a:cubicBezTo>
                    <a:pt x="371" y="292"/>
                    <a:pt x="359" y="285"/>
                    <a:pt x="347" y="280"/>
                  </a:cubicBezTo>
                  <a:cubicBezTo>
                    <a:pt x="345" y="279"/>
                    <a:pt x="345" y="279"/>
                    <a:pt x="345" y="279"/>
                  </a:cubicBezTo>
                  <a:cubicBezTo>
                    <a:pt x="344" y="277"/>
                    <a:pt x="344" y="277"/>
                    <a:pt x="344" y="277"/>
                  </a:cubicBezTo>
                  <a:cubicBezTo>
                    <a:pt x="341" y="261"/>
                    <a:pt x="336" y="249"/>
                    <a:pt x="332" y="241"/>
                  </a:cubicBezTo>
                  <a:cubicBezTo>
                    <a:pt x="331" y="240"/>
                    <a:pt x="331" y="240"/>
                    <a:pt x="331" y="240"/>
                  </a:cubicBezTo>
                  <a:cubicBezTo>
                    <a:pt x="332" y="238"/>
                    <a:pt x="332" y="238"/>
                    <a:pt x="332" y="238"/>
                  </a:cubicBezTo>
                  <a:cubicBezTo>
                    <a:pt x="333" y="234"/>
                    <a:pt x="337" y="224"/>
                    <a:pt x="339" y="218"/>
                  </a:cubicBezTo>
                  <a:cubicBezTo>
                    <a:pt x="347" y="197"/>
                    <a:pt x="340" y="178"/>
                    <a:pt x="321" y="170"/>
                  </a:cubicBezTo>
                  <a:cubicBezTo>
                    <a:pt x="316" y="167"/>
                    <a:pt x="311" y="166"/>
                    <a:pt x="306" y="166"/>
                  </a:cubicBezTo>
                  <a:cubicBezTo>
                    <a:pt x="293" y="166"/>
                    <a:pt x="281" y="174"/>
                    <a:pt x="273" y="188"/>
                  </a:cubicBezTo>
                  <a:cubicBezTo>
                    <a:pt x="270" y="194"/>
                    <a:pt x="264" y="204"/>
                    <a:pt x="263" y="207"/>
                  </a:cubicBezTo>
                  <a:cubicBezTo>
                    <a:pt x="262" y="208"/>
                    <a:pt x="262" y="208"/>
                    <a:pt x="262" y="208"/>
                  </a:cubicBezTo>
                  <a:cubicBezTo>
                    <a:pt x="260" y="209"/>
                    <a:pt x="260" y="209"/>
                    <a:pt x="260" y="209"/>
                  </a:cubicBezTo>
                  <a:cubicBezTo>
                    <a:pt x="252" y="211"/>
                    <a:pt x="240" y="215"/>
                    <a:pt x="226" y="223"/>
                  </a:cubicBezTo>
                  <a:cubicBezTo>
                    <a:pt x="223" y="224"/>
                    <a:pt x="223" y="224"/>
                    <a:pt x="223" y="224"/>
                  </a:cubicBezTo>
                  <a:cubicBezTo>
                    <a:pt x="221" y="223"/>
                    <a:pt x="221" y="223"/>
                    <a:pt x="221" y="223"/>
                  </a:cubicBezTo>
                  <a:cubicBezTo>
                    <a:pt x="220" y="222"/>
                    <a:pt x="193" y="205"/>
                    <a:pt x="179" y="166"/>
                  </a:cubicBezTo>
                  <a:cubicBezTo>
                    <a:pt x="167" y="132"/>
                    <a:pt x="193" y="98"/>
                    <a:pt x="195" y="97"/>
                  </a:cubicBezTo>
                  <a:cubicBezTo>
                    <a:pt x="196" y="95"/>
                    <a:pt x="196" y="95"/>
                    <a:pt x="196" y="95"/>
                  </a:cubicBezTo>
                  <a:cubicBezTo>
                    <a:pt x="199" y="95"/>
                    <a:pt x="199" y="95"/>
                    <a:pt x="199" y="95"/>
                  </a:cubicBezTo>
                  <a:cubicBezTo>
                    <a:pt x="202" y="96"/>
                    <a:pt x="204" y="96"/>
                    <a:pt x="207" y="96"/>
                  </a:cubicBezTo>
                  <a:cubicBezTo>
                    <a:pt x="224" y="96"/>
                    <a:pt x="240" y="86"/>
                    <a:pt x="247" y="71"/>
                  </a:cubicBezTo>
                  <a:cubicBezTo>
                    <a:pt x="257" y="49"/>
                    <a:pt x="247" y="23"/>
                    <a:pt x="225" y="13"/>
                  </a:cubicBezTo>
                  <a:cubicBezTo>
                    <a:pt x="220" y="10"/>
                    <a:pt x="214" y="9"/>
                    <a:pt x="207" y="9"/>
                  </a:cubicBezTo>
                  <a:cubicBezTo>
                    <a:pt x="190" y="9"/>
                    <a:pt x="175" y="19"/>
                    <a:pt x="168" y="35"/>
                  </a:cubicBezTo>
                  <a:cubicBezTo>
                    <a:pt x="161" y="48"/>
                    <a:pt x="163" y="64"/>
                    <a:pt x="171" y="76"/>
                  </a:cubicBezTo>
                  <a:cubicBezTo>
                    <a:pt x="172" y="79"/>
                    <a:pt x="172" y="79"/>
                    <a:pt x="172" y="79"/>
                  </a:cubicBezTo>
                  <a:cubicBezTo>
                    <a:pt x="170" y="81"/>
                    <a:pt x="170" y="81"/>
                    <a:pt x="170" y="81"/>
                  </a:cubicBezTo>
                  <a:cubicBezTo>
                    <a:pt x="162" y="92"/>
                    <a:pt x="135" y="132"/>
                    <a:pt x="151" y="176"/>
                  </a:cubicBezTo>
                  <a:cubicBezTo>
                    <a:pt x="163" y="209"/>
                    <a:pt x="182" y="229"/>
                    <a:pt x="195" y="241"/>
                  </a:cubicBezTo>
                  <a:cubicBezTo>
                    <a:pt x="199" y="244"/>
                    <a:pt x="199" y="244"/>
                    <a:pt x="199" y="244"/>
                  </a:cubicBezTo>
                  <a:cubicBezTo>
                    <a:pt x="196" y="247"/>
                    <a:pt x="196" y="247"/>
                    <a:pt x="196" y="247"/>
                  </a:cubicBezTo>
                  <a:cubicBezTo>
                    <a:pt x="182" y="262"/>
                    <a:pt x="175" y="276"/>
                    <a:pt x="172" y="282"/>
                  </a:cubicBezTo>
                  <a:cubicBezTo>
                    <a:pt x="172" y="282"/>
                    <a:pt x="172" y="282"/>
                    <a:pt x="172" y="282"/>
                  </a:cubicBezTo>
                  <a:cubicBezTo>
                    <a:pt x="171" y="284"/>
                    <a:pt x="171" y="285"/>
                    <a:pt x="171" y="285"/>
                  </a:cubicBezTo>
                  <a:cubicBezTo>
                    <a:pt x="165" y="300"/>
                    <a:pt x="163" y="315"/>
                    <a:pt x="165" y="330"/>
                  </a:cubicBezTo>
                  <a:cubicBezTo>
                    <a:pt x="165" y="332"/>
                    <a:pt x="165" y="332"/>
                    <a:pt x="165" y="332"/>
                  </a:cubicBezTo>
                  <a:cubicBezTo>
                    <a:pt x="164" y="333"/>
                    <a:pt x="164" y="333"/>
                    <a:pt x="164" y="333"/>
                  </a:cubicBezTo>
                  <a:cubicBezTo>
                    <a:pt x="159" y="341"/>
                    <a:pt x="150" y="354"/>
                    <a:pt x="138" y="369"/>
                  </a:cubicBezTo>
                  <a:cubicBezTo>
                    <a:pt x="125" y="386"/>
                    <a:pt x="108" y="408"/>
                    <a:pt x="94" y="428"/>
                  </a:cubicBezTo>
                  <a:cubicBezTo>
                    <a:pt x="92" y="430"/>
                    <a:pt x="92" y="430"/>
                    <a:pt x="92" y="430"/>
                  </a:cubicBezTo>
                  <a:cubicBezTo>
                    <a:pt x="90" y="430"/>
                    <a:pt x="90" y="430"/>
                    <a:pt x="90" y="430"/>
                  </a:cubicBezTo>
                  <a:cubicBezTo>
                    <a:pt x="89" y="430"/>
                    <a:pt x="62" y="431"/>
                    <a:pt x="36" y="469"/>
                  </a:cubicBezTo>
                  <a:cubicBezTo>
                    <a:pt x="22" y="490"/>
                    <a:pt x="12" y="510"/>
                    <a:pt x="12" y="510"/>
                  </a:cubicBezTo>
                  <a:cubicBezTo>
                    <a:pt x="12" y="510"/>
                    <a:pt x="10" y="515"/>
                    <a:pt x="12" y="521"/>
                  </a:cubicBezTo>
                  <a:cubicBezTo>
                    <a:pt x="15" y="528"/>
                    <a:pt x="22" y="538"/>
                    <a:pt x="45" y="549"/>
                  </a:cubicBezTo>
                  <a:cubicBezTo>
                    <a:pt x="66" y="558"/>
                    <a:pt x="82" y="563"/>
                    <a:pt x="94" y="563"/>
                  </a:cubicBezTo>
                  <a:cubicBezTo>
                    <a:pt x="109" y="563"/>
                    <a:pt x="111" y="556"/>
                    <a:pt x="111" y="556"/>
                  </a:cubicBezTo>
                  <a:cubicBezTo>
                    <a:pt x="112" y="555"/>
                    <a:pt x="112" y="555"/>
                    <a:pt x="112" y="555"/>
                  </a:cubicBezTo>
                  <a:cubicBezTo>
                    <a:pt x="112" y="555"/>
                    <a:pt x="123" y="532"/>
                    <a:pt x="131" y="510"/>
                  </a:cubicBezTo>
                  <a:cubicBezTo>
                    <a:pt x="141" y="482"/>
                    <a:pt x="143" y="460"/>
                    <a:pt x="135" y="453"/>
                  </a:cubicBezTo>
                  <a:cubicBezTo>
                    <a:pt x="133" y="451"/>
                    <a:pt x="133" y="451"/>
                    <a:pt x="133" y="451"/>
                  </a:cubicBezTo>
                  <a:cubicBezTo>
                    <a:pt x="134" y="448"/>
                    <a:pt x="134" y="448"/>
                    <a:pt x="134" y="448"/>
                  </a:cubicBezTo>
                  <a:cubicBezTo>
                    <a:pt x="138" y="440"/>
                    <a:pt x="152" y="411"/>
                    <a:pt x="174" y="373"/>
                  </a:cubicBezTo>
                  <a:cubicBezTo>
                    <a:pt x="178" y="368"/>
                    <a:pt x="178" y="368"/>
                    <a:pt x="178" y="368"/>
                  </a:cubicBezTo>
                  <a:cubicBezTo>
                    <a:pt x="182" y="373"/>
                    <a:pt x="182" y="373"/>
                    <a:pt x="182" y="373"/>
                  </a:cubicBezTo>
                  <a:cubicBezTo>
                    <a:pt x="191" y="387"/>
                    <a:pt x="201" y="393"/>
                    <a:pt x="217" y="400"/>
                  </a:cubicBezTo>
                  <a:cubicBezTo>
                    <a:pt x="233" y="408"/>
                    <a:pt x="252" y="410"/>
                    <a:pt x="270" y="407"/>
                  </a:cubicBezTo>
                  <a:lnTo>
                    <a:pt x="277" y="4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grpSp>
        <p:nvGrpSpPr>
          <p:cNvPr id="69" name="Group 68"/>
          <p:cNvGrpSpPr/>
          <p:nvPr userDrawn="1"/>
        </p:nvGrpSpPr>
        <p:grpSpPr>
          <a:xfrm>
            <a:off x="383250" y="1567586"/>
            <a:ext cx="6803935" cy="1936642"/>
            <a:chOff x="383249" y="1567586"/>
            <a:chExt cx="6803935" cy="1936642"/>
          </a:xfrm>
        </p:grpSpPr>
        <p:cxnSp>
          <p:nvCxnSpPr>
            <p:cNvPr id="70" name="Straight Connector 69"/>
            <p:cNvCxnSpPr/>
            <p:nvPr userDrawn="1"/>
          </p:nvCxnSpPr>
          <p:spPr>
            <a:xfrm>
              <a:off x="383249" y="1567586"/>
              <a:ext cx="6803136"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384048" y="3504228"/>
              <a:ext cx="6803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2" name="Group 71"/>
          <p:cNvGrpSpPr>
            <a:grpSpLocks noChangeAspect="1"/>
          </p:cNvGrpSpPr>
          <p:nvPr userDrawn="1"/>
        </p:nvGrpSpPr>
        <p:grpSpPr>
          <a:xfrm>
            <a:off x="391276" y="3809824"/>
            <a:ext cx="2096458" cy="457200"/>
            <a:chOff x="187326" y="5085556"/>
            <a:chExt cx="8393112" cy="1830388"/>
          </a:xfrm>
          <a:solidFill>
            <a:schemeClr val="bg1"/>
          </a:solidFill>
        </p:grpSpPr>
        <p:sp>
          <p:nvSpPr>
            <p:cNvPr id="73" name="Freeform 7"/>
            <p:cNvSpPr>
              <a:spLocks/>
            </p:cNvSpPr>
            <p:nvPr userDrawn="1"/>
          </p:nvSpPr>
          <p:spPr bwMode="auto">
            <a:xfrm>
              <a:off x="3603626" y="5388769"/>
              <a:ext cx="585787" cy="892175"/>
            </a:xfrm>
            <a:custGeom>
              <a:avLst/>
              <a:gdLst>
                <a:gd name="T0" fmla="*/ 0 w 156"/>
                <a:gd name="T1" fmla="*/ 218 h 238"/>
                <a:gd name="T2" fmla="*/ 20 w 156"/>
                <a:gd name="T3" fmla="*/ 238 h 238"/>
                <a:gd name="T4" fmla="*/ 156 w 156"/>
                <a:gd name="T5" fmla="*/ 238 h 238"/>
                <a:gd name="T6" fmla="*/ 126 w 156"/>
                <a:gd name="T7" fmla="*/ 189 h 238"/>
                <a:gd name="T8" fmla="*/ 47 w 156"/>
                <a:gd name="T9" fmla="*/ 189 h 238"/>
                <a:gd name="T10" fmla="*/ 47 w 156"/>
                <a:gd name="T11" fmla="*/ 0 h 238"/>
                <a:gd name="T12" fmla="*/ 0 w 156"/>
                <a:gd name="T13" fmla="*/ 0 h 238"/>
                <a:gd name="T14" fmla="*/ 0 w 156"/>
                <a:gd name="T15" fmla="*/ 218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238">
                  <a:moveTo>
                    <a:pt x="0" y="218"/>
                  </a:moveTo>
                  <a:cubicBezTo>
                    <a:pt x="0" y="227"/>
                    <a:pt x="11" y="238"/>
                    <a:pt x="20" y="238"/>
                  </a:cubicBezTo>
                  <a:cubicBezTo>
                    <a:pt x="156" y="238"/>
                    <a:pt x="156" y="238"/>
                    <a:pt x="156" y="238"/>
                  </a:cubicBezTo>
                  <a:cubicBezTo>
                    <a:pt x="126" y="189"/>
                    <a:pt x="126" y="189"/>
                    <a:pt x="126" y="189"/>
                  </a:cubicBezTo>
                  <a:cubicBezTo>
                    <a:pt x="47" y="189"/>
                    <a:pt x="47" y="189"/>
                    <a:pt x="47" y="189"/>
                  </a:cubicBezTo>
                  <a:cubicBezTo>
                    <a:pt x="47" y="0"/>
                    <a:pt x="47" y="0"/>
                    <a:pt x="47" y="0"/>
                  </a:cubicBezTo>
                  <a:cubicBezTo>
                    <a:pt x="0" y="0"/>
                    <a:pt x="0" y="0"/>
                    <a:pt x="0" y="0"/>
                  </a:cubicBezTo>
                  <a:lnTo>
                    <a:pt x="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4" name="Freeform 8"/>
            <p:cNvSpPr>
              <a:spLocks noEditPoints="1"/>
            </p:cNvSpPr>
            <p:nvPr userDrawn="1"/>
          </p:nvSpPr>
          <p:spPr bwMode="auto">
            <a:xfrm>
              <a:off x="187326" y="5085556"/>
              <a:ext cx="1541462" cy="1830388"/>
            </a:xfrm>
            <a:custGeom>
              <a:avLst/>
              <a:gdLst>
                <a:gd name="T0" fmla="*/ 411 w 411"/>
                <a:gd name="T1" fmla="*/ 206 h 488"/>
                <a:gd name="T2" fmla="*/ 206 w 411"/>
                <a:gd name="T3" fmla="*/ 0 h 488"/>
                <a:gd name="T4" fmla="*/ 0 w 411"/>
                <a:gd name="T5" fmla="*/ 206 h 488"/>
                <a:gd name="T6" fmla="*/ 206 w 411"/>
                <a:gd name="T7" fmla="*/ 412 h 488"/>
                <a:gd name="T8" fmla="*/ 241 w 411"/>
                <a:gd name="T9" fmla="*/ 408 h 488"/>
                <a:gd name="T10" fmla="*/ 240 w 411"/>
                <a:gd name="T11" fmla="*/ 488 h 488"/>
                <a:gd name="T12" fmla="*/ 298 w 411"/>
                <a:gd name="T13" fmla="*/ 488 h 488"/>
                <a:gd name="T14" fmla="*/ 298 w 411"/>
                <a:gd name="T15" fmla="*/ 389 h 488"/>
                <a:gd name="T16" fmla="*/ 411 w 411"/>
                <a:gd name="T17" fmla="*/ 206 h 488"/>
                <a:gd name="T18" fmla="*/ 298 w 411"/>
                <a:gd name="T19" fmla="*/ 302 h 488"/>
                <a:gd name="T20" fmla="*/ 298 w 411"/>
                <a:gd name="T21" fmla="*/ 236 h 488"/>
                <a:gd name="T22" fmla="*/ 240 w 411"/>
                <a:gd name="T23" fmla="*/ 252 h 488"/>
                <a:gd name="T24" fmla="*/ 241 w 411"/>
                <a:gd name="T25" fmla="*/ 334 h 488"/>
                <a:gd name="T26" fmla="*/ 206 w 411"/>
                <a:gd name="T27" fmla="*/ 339 h 488"/>
                <a:gd name="T28" fmla="*/ 73 w 411"/>
                <a:gd name="T29" fmla="*/ 206 h 488"/>
                <a:gd name="T30" fmla="*/ 206 w 411"/>
                <a:gd name="T31" fmla="*/ 73 h 488"/>
                <a:gd name="T32" fmla="*/ 339 w 411"/>
                <a:gd name="T33" fmla="*/ 206 h 488"/>
                <a:gd name="T34" fmla="*/ 298 w 411"/>
                <a:gd name="T35" fmla="*/ 30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1" h="488">
                  <a:moveTo>
                    <a:pt x="411" y="206"/>
                  </a:moveTo>
                  <a:cubicBezTo>
                    <a:pt x="411" y="92"/>
                    <a:pt x="319" y="0"/>
                    <a:pt x="206" y="0"/>
                  </a:cubicBezTo>
                  <a:cubicBezTo>
                    <a:pt x="92" y="0"/>
                    <a:pt x="0" y="92"/>
                    <a:pt x="0" y="206"/>
                  </a:cubicBezTo>
                  <a:cubicBezTo>
                    <a:pt x="0" y="319"/>
                    <a:pt x="92" y="412"/>
                    <a:pt x="206" y="412"/>
                  </a:cubicBezTo>
                  <a:cubicBezTo>
                    <a:pt x="218" y="412"/>
                    <a:pt x="229" y="410"/>
                    <a:pt x="241" y="408"/>
                  </a:cubicBezTo>
                  <a:cubicBezTo>
                    <a:pt x="240" y="488"/>
                    <a:pt x="240" y="488"/>
                    <a:pt x="240" y="488"/>
                  </a:cubicBezTo>
                  <a:cubicBezTo>
                    <a:pt x="298" y="488"/>
                    <a:pt x="298" y="488"/>
                    <a:pt x="298" y="488"/>
                  </a:cubicBezTo>
                  <a:cubicBezTo>
                    <a:pt x="298" y="389"/>
                    <a:pt x="298" y="389"/>
                    <a:pt x="298" y="389"/>
                  </a:cubicBezTo>
                  <a:cubicBezTo>
                    <a:pt x="365" y="355"/>
                    <a:pt x="411" y="286"/>
                    <a:pt x="411" y="206"/>
                  </a:cubicBezTo>
                  <a:close/>
                  <a:moveTo>
                    <a:pt x="298" y="302"/>
                  </a:moveTo>
                  <a:cubicBezTo>
                    <a:pt x="298" y="236"/>
                    <a:pt x="298" y="236"/>
                    <a:pt x="298" y="236"/>
                  </a:cubicBezTo>
                  <a:cubicBezTo>
                    <a:pt x="240" y="252"/>
                    <a:pt x="240" y="252"/>
                    <a:pt x="240" y="252"/>
                  </a:cubicBezTo>
                  <a:cubicBezTo>
                    <a:pt x="241" y="334"/>
                    <a:pt x="241" y="334"/>
                    <a:pt x="241" y="334"/>
                  </a:cubicBezTo>
                  <a:cubicBezTo>
                    <a:pt x="229" y="337"/>
                    <a:pt x="218" y="339"/>
                    <a:pt x="206" y="339"/>
                  </a:cubicBezTo>
                  <a:cubicBezTo>
                    <a:pt x="132" y="339"/>
                    <a:pt x="73" y="279"/>
                    <a:pt x="73" y="206"/>
                  </a:cubicBezTo>
                  <a:cubicBezTo>
                    <a:pt x="73" y="132"/>
                    <a:pt x="132" y="73"/>
                    <a:pt x="206" y="73"/>
                  </a:cubicBezTo>
                  <a:cubicBezTo>
                    <a:pt x="279" y="73"/>
                    <a:pt x="339" y="132"/>
                    <a:pt x="339" y="206"/>
                  </a:cubicBezTo>
                  <a:cubicBezTo>
                    <a:pt x="339" y="244"/>
                    <a:pt x="323" y="278"/>
                    <a:pt x="298"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5" name="Freeform 9"/>
            <p:cNvSpPr>
              <a:spLocks/>
            </p:cNvSpPr>
            <p:nvPr userDrawn="1"/>
          </p:nvSpPr>
          <p:spPr bwMode="auto">
            <a:xfrm>
              <a:off x="1863726" y="5388769"/>
              <a:ext cx="652462" cy="892175"/>
            </a:xfrm>
            <a:custGeom>
              <a:avLst/>
              <a:gdLst>
                <a:gd name="T0" fmla="*/ 154 w 174"/>
                <a:gd name="T1" fmla="*/ 238 h 238"/>
                <a:gd name="T2" fmla="*/ 20 w 174"/>
                <a:gd name="T3" fmla="*/ 238 h 238"/>
                <a:gd name="T4" fmla="*/ 0 w 174"/>
                <a:gd name="T5" fmla="*/ 218 h 238"/>
                <a:gd name="T6" fmla="*/ 0 w 174"/>
                <a:gd name="T7" fmla="*/ 0 h 238"/>
                <a:gd name="T8" fmla="*/ 46 w 174"/>
                <a:gd name="T9" fmla="*/ 0 h 238"/>
                <a:gd name="T10" fmla="*/ 46 w 174"/>
                <a:gd name="T11" fmla="*/ 189 h 238"/>
                <a:gd name="T12" fmla="*/ 127 w 174"/>
                <a:gd name="T13" fmla="*/ 189 h 238"/>
                <a:gd name="T14" fmla="*/ 127 w 174"/>
                <a:gd name="T15" fmla="*/ 0 h 238"/>
                <a:gd name="T16" fmla="*/ 174 w 174"/>
                <a:gd name="T17" fmla="*/ 0 h 238"/>
                <a:gd name="T18" fmla="*/ 174 w 174"/>
                <a:gd name="T19" fmla="*/ 218 h 238"/>
                <a:gd name="T20" fmla="*/ 154 w 174"/>
                <a:gd name="T2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238">
                  <a:moveTo>
                    <a:pt x="154" y="238"/>
                  </a:moveTo>
                  <a:cubicBezTo>
                    <a:pt x="20" y="238"/>
                    <a:pt x="20" y="238"/>
                    <a:pt x="20" y="238"/>
                  </a:cubicBezTo>
                  <a:cubicBezTo>
                    <a:pt x="11" y="238"/>
                    <a:pt x="0" y="228"/>
                    <a:pt x="0" y="218"/>
                  </a:cubicBezTo>
                  <a:cubicBezTo>
                    <a:pt x="0" y="0"/>
                    <a:pt x="0" y="0"/>
                    <a:pt x="0" y="0"/>
                  </a:cubicBezTo>
                  <a:cubicBezTo>
                    <a:pt x="46" y="0"/>
                    <a:pt x="46" y="0"/>
                    <a:pt x="46" y="0"/>
                  </a:cubicBezTo>
                  <a:cubicBezTo>
                    <a:pt x="46" y="189"/>
                    <a:pt x="46" y="189"/>
                    <a:pt x="46" y="189"/>
                  </a:cubicBezTo>
                  <a:cubicBezTo>
                    <a:pt x="127" y="189"/>
                    <a:pt x="127" y="189"/>
                    <a:pt x="127" y="189"/>
                  </a:cubicBezTo>
                  <a:cubicBezTo>
                    <a:pt x="127" y="0"/>
                    <a:pt x="127" y="0"/>
                    <a:pt x="127" y="0"/>
                  </a:cubicBezTo>
                  <a:cubicBezTo>
                    <a:pt x="174" y="0"/>
                    <a:pt x="174" y="0"/>
                    <a:pt x="174" y="0"/>
                  </a:cubicBezTo>
                  <a:cubicBezTo>
                    <a:pt x="174" y="218"/>
                    <a:pt x="174" y="218"/>
                    <a:pt x="174" y="218"/>
                  </a:cubicBezTo>
                  <a:cubicBezTo>
                    <a:pt x="174" y="228"/>
                    <a:pt x="163" y="238"/>
                    <a:pt x="154"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6" name="Freeform 10"/>
            <p:cNvSpPr>
              <a:spLocks/>
            </p:cNvSpPr>
            <p:nvPr userDrawn="1"/>
          </p:nvSpPr>
          <p:spPr bwMode="auto">
            <a:xfrm>
              <a:off x="4079876" y="5358606"/>
              <a:ext cx="712787" cy="946150"/>
            </a:xfrm>
            <a:custGeom>
              <a:avLst/>
              <a:gdLst>
                <a:gd name="T0" fmla="*/ 190 w 190"/>
                <a:gd name="T1" fmla="*/ 17 h 252"/>
                <a:gd name="T2" fmla="*/ 126 w 190"/>
                <a:gd name="T3" fmla="*/ 0 h 252"/>
                <a:gd name="T4" fmla="*/ 0 w 190"/>
                <a:gd name="T5" fmla="*/ 126 h 252"/>
                <a:gd name="T6" fmla="*/ 126 w 190"/>
                <a:gd name="T7" fmla="*/ 252 h 252"/>
                <a:gd name="T8" fmla="*/ 187 w 190"/>
                <a:gd name="T9" fmla="*/ 237 h 252"/>
                <a:gd name="T10" fmla="*/ 164 w 190"/>
                <a:gd name="T11" fmla="*/ 196 h 252"/>
                <a:gd name="T12" fmla="*/ 126 w 190"/>
                <a:gd name="T13" fmla="*/ 205 h 252"/>
                <a:gd name="T14" fmla="*/ 47 w 190"/>
                <a:gd name="T15" fmla="*/ 126 h 252"/>
                <a:gd name="T16" fmla="*/ 126 w 190"/>
                <a:gd name="T17" fmla="*/ 46 h 252"/>
                <a:gd name="T18" fmla="*/ 167 w 190"/>
                <a:gd name="T19" fmla="*/ 58 h 252"/>
                <a:gd name="T20" fmla="*/ 190 w 190"/>
                <a:gd name="T21" fmla="*/ 1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 h="252">
                  <a:moveTo>
                    <a:pt x="190" y="17"/>
                  </a:moveTo>
                  <a:cubicBezTo>
                    <a:pt x="171" y="6"/>
                    <a:pt x="149" y="0"/>
                    <a:pt x="126" y="0"/>
                  </a:cubicBezTo>
                  <a:cubicBezTo>
                    <a:pt x="57" y="0"/>
                    <a:pt x="0" y="56"/>
                    <a:pt x="0" y="126"/>
                  </a:cubicBezTo>
                  <a:cubicBezTo>
                    <a:pt x="0" y="196"/>
                    <a:pt x="57" y="252"/>
                    <a:pt x="126" y="252"/>
                  </a:cubicBezTo>
                  <a:cubicBezTo>
                    <a:pt x="148" y="252"/>
                    <a:pt x="169" y="246"/>
                    <a:pt x="187" y="237"/>
                  </a:cubicBezTo>
                  <a:cubicBezTo>
                    <a:pt x="164" y="196"/>
                    <a:pt x="164" y="196"/>
                    <a:pt x="164" y="196"/>
                  </a:cubicBezTo>
                  <a:cubicBezTo>
                    <a:pt x="153" y="202"/>
                    <a:pt x="140" y="205"/>
                    <a:pt x="126" y="205"/>
                  </a:cubicBezTo>
                  <a:cubicBezTo>
                    <a:pt x="82" y="205"/>
                    <a:pt x="47" y="170"/>
                    <a:pt x="47" y="126"/>
                  </a:cubicBezTo>
                  <a:cubicBezTo>
                    <a:pt x="47" y="82"/>
                    <a:pt x="82" y="46"/>
                    <a:pt x="126" y="46"/>
                  </a:cubicBezTo>
                  <a:cubicBezTo>
                    <a:pt x="141" y="46"/>
                    <a:pt x="155" y="51"/>
                    <a:pt x="167" y="58"/>
                  </a:cubicBezTo>
                  <a:lnTo>
                    <a:pt x="19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7" name="Freeform 11"/>
            <p:cNvSpPr>
              <a:spLocks noEditPoints="1"/>
            </p:cNvSpPr>
            <p:nvPr userDrawn="1"/>
          </p:nvSpPr>
          <p:spPr bwMode="auto">
            <a:xfrm>
              <a:off x="4725988" y="5358606"/>
              <a:ext cx="944562" cy="949325"/>
            </a:xfrm>
            <a:custGeom>
              <a:avLst/>
              <a:gdLst>
                <a:gd name="T0" fmla="*/ 126 w 252"/>
                <a:gd name="T1" fmla="*/ 0 h 253"/>
                <a:gd name="T2" fmla="*/ 0 w 252"/>
                <a:gd name="T3" fmla="*/ 127 h 253"/>
                <a:gd name="T4" fmla="*/ 126 w 252"/>
                <a:gd name="T5" fmla="*/ 253 h 253"/>
                <a:gd name="T6" fmla="*/ 252 w 252"/>
                <a:gd name="T7" fmla="*/ 127 h 253"/>
                <a:gd name="T8" fmla="*/ 126 w 252"/>
                <a:gd name="T9" fmla="*/ 0 h 253"/>
                <a:gd name="T10" fmla="*/ 126 w 252"/>
                <a:gd name="T11" fmla="*/ 206 h 253"/>
                <a:gd name="T12" fmla="*/ 47 w 252"/>
                <a:gd name="T13" fmla="*/ 127 h 253"/>
                <a:gd name="T14" fmla="*/ 126 w 252"/>
                <a:gd name="T15" fmla="*/ 47 h 253"/>
                <a:gd name="T16" fmla="*/ 206 w 252"/>
                <a:gd name="T17" fmla="*/ 127 h 253"/>
                <a:gd name="T18" fmla="*/ 126 w 252"/>
                <a:gd name="T19" fmla="*/ 20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253">
                  <a:moveTo>
                    <a:pt x="126" y="0"/>
                  </a:moveTo>
                  <a:cubicBezTo>
                    <a:pt x="56" y="0"/>
                    <a:pt x="0" y="57"/>
                    <a:pt x="0" y="127"/>
                  </a:cubicBezTo>
                  <a:cubicBezTo>
                    <a:pt x="0" y="197"/>
                    <a:pt x="56" y="253"/>
                    <a:pt x="126" y="253"/>
                  </a:cubicBezTo>
                  <a:cubicBezTo>
                    <a:pt x="196" y="253"/>
                    <a:pt x="252" y="196"/>
                    <a:pt x="252" y="127"/>
                  </a:cubicBezTo>
                  <a:cubicBezTo>
                    <a:pt x="252" y="57"/>
                    <a:pt x="196" y="0"/>
                    <a:pt x="126" y="0"/>
                  </a:cubicBezTo>
                  <a:close/>
                  <a:moveTo>
                    <a:pt x="126" y="206"/>
                  </a:moveTo>
                  <a:cubicBezTo>
                    <a:pt x="82" y="206"/>
                    <a:pt x="47" y="171"/>
                    <a:pt x="47" y="127"/>
                  </a:cubicBezTo>
                  <a:cubicBezTo>
                    <a:pt x="47" y="83"/>
                    <a:pt x="82" y="47"/>
                    <a:pt x="126" y="47"/>
                  </a:cubicBezTo>
                  <a:cubicBezTo>
                    <a:pt x="170" y="47"/>
                    <a:pt x="206" y="83"/>
                    <a:pt x="206" y="127"/>
                  </a:cubicBezTo>
                  <a:cubicBezTo>
                    <a:pt x="206" y="170"/>
                    <a:pt x="170" y="206"/>
                    <a:pt x="126"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8" name="Freeform 12"/>
            <p:cNvSpPr>
              <a:spLocks noEditPoints="1"/>
            </p:cNvSpPr>
            <p:nvPr userDrawn="1"/>
          </p:nvSpPr>
          <p:spPr bwMode="auto">
            <a:xfrm>
              <a:off x="2584451" y="5393531"/>
              <a:ext cx="952500" cy="884238"/>
            </a:xfrm>
            <a:custGeom>
              <a:avLst/>
              <a:gdLst>
                <a:gd name="T0" fmla="*/ 354 w 600"/>
                <a:gd name="T1" fmla="*/ 0 h 557"/>
                <a:gd name="T2" fmla="*/ 245 w 600"/>
                <a:gd name="T3" fmla="*/ 0 h 557"/>
                <a:gd name="T4" fmla="*/ 0 w 600"/>
                <a:gd name="T5" fmla="*/ 557 h 557"/>
                <a:gd name="T6" fmla="*/ 115 w 600"/>
                <a:gd name="T7" fmla="*/ 557 h 557"/>
                <a:gd name="T8" fmla="*/ 174 w 600"/>
                <a:gd name="T9" fmla="*/ 434 h 557"/>
                <a:gd name="T10" fmla="*/ 430 w 600"/>
                <a:gd name="T11" fmla="*/ 434 h 557"/>
                <a:gd name="T12" fmla="*/ 434 w 600"/>
                <a:gd name="T13" fmla="*/ 446 h 557"/>
                <a:gd name="T14" fmla="*/ 484 w 600"/>
                <a:gd name="T15" fmla="*/ 557 h 557"/>
                <a:gd name="T16" fmla="*/ 600 w 600"/>
                <a:gd name="T17" fmla="*/ 557 h 557"/>
                <a:gd name="T18" fmla="*/ 354 w 600"/>
                <a:gd name="T19" fmla="*/ 0 h 557"/>
                <a:gd name="T20" fmla="*/ 210 w 600"/>
                <a:gd name="T21" fmla="*/ 342 h 557"/>
                <a:gd name="T22" fmla="*/ 300 w 600"/>
                <a:gd name="T23" fmla="*/ 141 h 557"/>
                <a:gd name="T24" fmla="*/ 389 w 600"/>
                <a:gd name="T25" fmla="*/ 342 h 557"/>
                <a:gd name="T26" fmla="*/ 210 w 600"/>
                <a:gd name="T27" fmla="*/ 342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0" h="557">
                  <a:moveTo>
                    <a:pt x="354" y="0"/>
                  </a:moveTo>
                  <a:lnTo>
                    <a:pt x="245" y="0"/>
                  </a:lnTo>
                  <a:lnTo>
                    <a:pt x="0" y="557"/>
                  </a:lnTo>
                  <a:lnTo>
                    <a:pt x="115" y="557"/>
                  </a:lnTo>
                  <a:lnTo>
                    <a:pt x="174" y="434"/>
                  </a:lnTo>
                  <a:lnTo>
                    <a:pt x="430" y="434"/>
                  </a:lnTo>
                  <a:lnTo>
                    <a:pt x="434" y="446"/>
                  </a:lnTo>
                  <a:lnTo>
                    <a:pt x="484" y="557"/>
                  </a:lnTo>
                  <a:lnTo>
                    <a:pt x="600" y="557"/>
                  </a:lnTo>
                  <a:lnTo>
                    <a:pt x="354" y="0"/>
                  </a:lnTo>
                  <a:close/>
                  <a:moveTo>
                    <a:pt x="210" y="342"/>
                  </a:moveTo>
                  <a:lnTo>
                    <a:pt x="300" y="141"/>
                  </a:lnTo>
                  <a:lnTo>
                    <a:pt x="389" y="342"/>
                  </a:lnTo>
                  <a:lnTo>
                    <a:pt x="210"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79" name="Freeform 13"/>
            <p:cNvSpPr>
              <a:spLocks/>
            </p:cNvSpPr>
            <p:nvPr userDrawn="1"/>
          </p:nvSpPr>
          <p:spPr bwMode="auto">
            <a:xfrm>
              <a:off x="5599113" y="5382419"/>
              <a:ext cx="2932112" cy="966788"/>
            </a:xfrm>
            <a:custGeom>
              <a:avLst/>
              <a:gdLst>
                <a:gd name="T0" fmla="*/ 770 w 782"/>
                <a:gd name="T1" fmla="*/ 211 h 258"/>
                <a:gd name="T2" fmla="*/ 685 w 782"/>
                <a:gd name="T3" fmla="*/ 14 h 258"/>
                <a:gd name="T4" fmla="*/ 658 w 782"/>
                <a:gd name="T5" fmla="*/ 0 h 258"/>
                <a:gd name="T6" fmla="*/ 632 w 782"/>
                <a:gd name="T7" fmla="*/ 14 h 258"/>
                <a:gd name="T8" fmla="*/ 569 w 782"/>
                <a:gd name="T9" fmla="*/ 158 h 258"/>
                <a:gd name="T10" fmla="*/ 506 w 782"/>
                <a:gd name="T11" fmla="*/ 14 h 258"/>
                <a:gd name="T12" fmla="*/ 480 w 782"/>
                <a:gd name="T13" fmla="*/ 0 h 258"/>
                <a:gd name="T14" fmla="*/ 454 w 782"/>
                <a:gd name="T15" fmla="*/ 14 h 258"/>
                <a:gd name="T16" fmla="*/ 391 w 782"/>
                <a:gd name="T17" fmla="*/ 159 h 258"/>
                <a:gd name="T18" fmla="*/ 328 w 782"/>
                <a:gd name="T19" fmla="*/ 14 h 258"/>
                <a:gd name="T20" fmla="*/ 302 w 782"/>
                <a:gd name="T21" fmla="*/ 0 h 258"/>
                <a:gd name="T22" fmla="*/ 276 w 782"/>
                <a:gd name="T23" fmla="*/ 14 h 258"/>
                <a:gd name="T24" fmla="*/ 213 w 782"/>
                <a:gd name="T25" fmla="*/ 158 h 258"/>
                <a:gd name="T26" fmla="*/ 150 w 782"/>
                <a:gd name="T27" fmla="*/ 14 h 258"/>
                <a:gd name="T28" fmla="*/ 124 w 782"/>
                <a:gd name="T29" fmla="*/ 0 h 258"/>
                <a:gd name="T30" fmla="*/ 97 w 782"/>
                <a:gd name="T31" fmla="*/ 14 h 258"/>
                <a:gd name="T32" fmla="*/ 12 w 782"/>
                <a:gd name="T33" fmla="*/ 211 h 258"/>
                <a:gd name="T34" fmla="*/ 56 w 782"/>
                <a:gd name="T35" fmla="*/ 233 h 258"/>
                <a:gd name="T36" fmla="*/ 124 w 782"/>
                <a:gd name="T37" fmla="*/ 76 h 258"/>
                <a:gd name="T38" fmla="*/ 191 w 782"/>
                <a:gd name="T39" fmla="*/ 233 h 258"/>
                <a:gd name="T40" fmla="*/ 235 w 782"/>
                <a:gd name="T41" fmla="*/ 233 h 258"/>
                <a:gd name="T42" fmla="*/ 302 w 782"/>
                <a:gd name="T43" fmla="*/ 76 h 258"/>
                <a:gd name="T44" fmla="*/ 369 w 782"/>
                <a:gd name="T45" fmla="*/ 233 h 258"/>
                <a:gd name="T46" fmla="*/ 388 w 782"/>
                <a:gd name="T47" fmla="*/ 245 h 258"/>
                <a:gd name="T48" fmla="*/ 391 w 782"/>
                <a:gd name="T49" fmla="*/ 245 h 258"/>
                <a:gd name="T50" fmla="*/ 394 w 782"/>
                <a:gd name="T51" fmla="*/ 245 h 258"/>
                <a:gd name="T52" fmla="*/ 413 w 782"/>
                <a:gd name="T53" fmla="*/ 233 h 258"/>
                <a:gd name="T54" fmla="*/ 480 w 782"/>
                <a:gd name="T55" fmla="*/ 76 h 258"/>
                <a:gd name="T56" fmla="*/ 547 w 782"/>
                <a:gd name="T57" fmla="*/ 233 h 258"/>
                <a:gd name="T58" fmla="*/ 591 w 782"/>
                <a:gd name="T59" fmla="*/ 233 h 258"/>
                <a:gd name="T60" fmla="*/ 658 w 782"/>
                <a:gd name="T61" fmla="*/ 76 h 258"/>
                <a:gd name="T62" fmla="*/ 726 w 782"/>
                <a:gd name="T63" fmla="*/ 233 h 258"/>
                <a:gd name="T64" fmla="*/ 770 w 782"/>
                <a:gd name="T65" fmla="*/ 21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2" h="258">
                  <a:moveTo>
                    <a:pt x="770" y="211"/>
                  </a:moveTo>
                  <a:cubicBezTo>
                    <a:pt x="685" y="14"/>
                    <a:pt x="685" y="14"/>
                    <a:pt x="685" y="14"/>
                  </a:cubicBezTo>
                  <a:cubicBezTo>
                    <a:pt x="680" y="4"/>
                    <a:pt x="671" y="0"/>
                    <a:pt x="658" y="0"/>
                  </a:cubicBezTo>
                  <a:cubicBezTo>
                    <a:pt x="646" y="0"/>
                    <a:pt x="637" y="4"/>
                    <a:pt x="632" y="14"/>
                  </a:cubicBezTo>
                  <a:cubicBezTo>
                    <a:pt x="569" y="158"/>
                    <a:pt x="569" y="158"/>
                    <a:pt x="569" y="158"/>
                  </a:cubicBezTo>
                  <a:cubicBezTo>
                    <a:pt x="506" y="14"/>
                    <a:pt x="506" y="14"/>
                    <a:pt x="506" y="14"/>
                  </a:cubicBezTo>
                  <a:cubicBezTo>
                    <a:pt x="501" y="4"/>
                    <a:pt x="493" y="0"/>
                    <a:pt x="480" y="0"/>
                  </a:cubicBezTo>
                  <a:cubicBezTo>
                    <a:pt x="468" y="0"/>
                    <a:pt x="459" y="4"/>
                    <a:pt x="454" y="14"/>
                  </a:cubicBezTo>
                  <a:cubicBezTo>
                    <a:pt x="391" y="159"/>
                    <a:pt x="391" y="159"/>
                    <a:pt x="391" y="159"/>
                  </a:cubicBezTo>
                  <a:cubicBezTo>
                    <a:pt x="328" y="14"/>
                    <a:pt x="328" y="14"/>
                    <a:pt x="328" y="14"/>
                  </a:cubicBezTo>
                  <a:cubicBezTo>
                    <a:pt x="323" y="4"/>
                    <a:pt x="314" y="0"/>
                    <a:pt x="302" y="0"/>
                  </a:cubicBezTo>
                  <a:cubicBezTo>
                    <a:pt x="289" y="0"/>
                    <a:pt x="281" y="4"/>
                    <a:pt x="276" y="14"/>
                  </a:cubicBezTo>
                  <a:cubicBezTo>
                    <a:pt x="213" y="158"/>
                    <a:pt x="213" y="158"/>
                    <a:pt x="213" y="158"/>
                  </a:cubicBezTo>
                  <a:cubicBezTo>
                    <a:pt x="150" y="14"/>
                    <a:pt x="150" y="14"/>
                    <a:pt x="150" y="14"/>
                  </a:cubicBezTo>
                  <a:cubicBezTo>
                    <a:pt x="145" y="4"/>
                    <a:pt x="136" y="0"/>
                    <a:pt x="124" y="0"/>
                  </a:cubicBezTo>
                  <a:cubicBezTo>
                    <a:pt x="111" y="0"/>
                    <a:pt x="102" y="4"/>
                    <a:pt x="97" y="14"/>
                  </a:cubicBezTo>
                  <a:cubicBezTo>
                    <a:pt x="12" y="211"/>
                    <a:pt x="12" y="211"/>
                    <a:pt x="12" y="211"/>
                  </a:cubicBezTo>
                  <a:cubicBezTo>
                    <a:pt x="0" y="242"/>
                    <a:pt x="42" y="258"/>
                    <a:pt x="56" y="233"/>
                  </a:cubicBezTo>
                  <a:cubicBezTo>
                    <a:pt x="124" y="76"/>
                    <a:pt x="124" y="76"/>
                    <a:pt x="124" y="76"/>
                  </a:cubicBezTo>
                  <a:cubicBezTo>
                    <a:pt x="191" y="233"/>
                    <a:pt x="191" y="233"/>
                    <a:pt x="191" y="233"/>
                  </a:cubicBezTo>
                  <a:cubicBezTo>
                    <a:pt x="200" y="249"/>
                    <a:pt x="227" y="248"/>
                    <a:pt x="235" y="233"/>
                  </a:cubicBezTo>
                  <a:cubicBezTo>
                    <a:pt x="302" y="76"/>
                    <a:pt x="302" y="76"/>
                    <a:pt x="302" y="76"/>
                  </a:cubicBezTo>
                  <a:cubicBezTo>
                    <a:pt x="369" y="233"/>
                    <a:pt x="369" y="233"/>
                    <a:pt x="369" y="233"/>
                  </a:cubicBezTo>
                  <a:cubicBezTo>
                    <a:pt x="373" y="241"/>
                    <a:pt x="381" y="244"/>
                    <a:pt x="388" y="245"/>
                  </a:cubicBezTo>
                  <a:cubicBezTo>
                    <a:pt x="389" y="245"/>
                    <a:pt x="390" y="245"/>
                    <a:pt x="391" y="245"/>
                  </a:cubicBezTo>
                  <a:cubicBezTo>
                    <a:pt x="392" y="245"/>
                    <a:pt x="393" y="245"/>
                    <a:pt x="394" y="245"/>
                  </a:cubicBezTo>
                  <a:cubicBezTo>
                    <a:pt x="401" y="244"/>
                    <a:pt x="409" y="241"/>
                    <a:pt x="413" y="233"/>
                  </a:cubicBezTo>
                  <a:cubicBezTo>
                    <a:pt x="480" y="76"/>
                    <a:pt x="480" y="76"/>
                    <a:pt x="480" y="76"/>
                  </a:cubicBezTo>
                  <a:cubicBezTo>
                    <a:pt x="547" y="233"/>
                    <a:pt x="547" y="233"/>
                    <a:pt x="547" y="233"/>
                  </a:cubicBezTo>
                  <a:cubicBezTo>
                    <a:pt x="555" y="248"/>
                    <a:pt x="582" y="249"/>
                    <a:pt x="591" y="233"/>
                  </a:cubicBezTo>
                  <a:cubicBezTo>
                    <a:pt x="658" y="76"/>
                    <a:pt x="658" y="76"/>
                    <a:pt x="658" y="76"/>
                  </a:cubicBezTo>
                  <a:cubicBezTo>
                    <a:pt x="726" y="233"/>
                    <a:pt x="726" y="233"/>
                    <a:pt x="726" y="233"/>
                  </a:cubicBezTo>
                  <a:cubicBezTo>
                    <a:pt x="740" y="258"/>
                    <a:pt x="782" y="242"/>
                    <a:pt x="770"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sp>
          <p:nvSpPr>
            <p:cNvPr id="80" name="Freeform 14"/>
            <p:cNvSpPr>
              <a:spLocks noEditPoints="1"/>
            </p:cNvSpPr>
            <p:nvPr userDrawn="1"/>
          </p:nvSpPr>
          <p:spPr bwMode="auto">
            <a:xfrm>
              <a:off x="8370888" y="5396706"/>
              <a:ext cx="209550" cy="206375"/>
            </a:xfrm>
            <a:custGeom>
              <a:avLst/>
              <a:gdLst>
                <a:gd name="T0" fmla="*/ 29 w 56"/>
                <a:gd name="T1" fmla="*/ 0 h 55"/>
                <a:gd name="T2" fmla="*/ 0 w 56"/>
                <a:gd name="T3" fmla="*/ 28 h 55"/>
                <a:gd name="T4" fmla="*/ 29 w 56"/>
                <a:gd name="T5" fmla="*/ 55 h 55"/>
                <a:gd name="T6" fmla="*/ 56 w 56"/>
                <a:gd name="T7" fmla="*/ 28 h 55"/>
                <a:gd name="T8" fmla="*/ 29 w 56"/>
                <a:gd name="T9" fmla="*/ 0 h 55"/>
                <a:gd name="T10" fmla="*/ 29 w 56"/>
                <a:gd name="T11" fmla="*/ 51 h 55"/>
                <a:gd name="T12" fmla="*/ 6 w 56"/>
                <a:gd name="T13" fmla="*/ 28 h 55"/>
                <a:gd name="T14" fmla="*/ 29 w 56"/>
                <a:gd name="T15" fmla="*/ 5 h 55"/>
                <a:gd name="T16" fmla="*/ 51 w 56"/>
                <a:gd name="T17" fmla="*/ 28 h 55"/>
                <a:gd name="T18" fmla="*/ 29 w 56"/>
                <a:gd name="T19" fmla="*/ 51 h 55"/>
                <a:gd name="T20" fmla="*/ 41 w 56"/>
                <a:gd name="T21" fmla="*/ 21 h 55"/>
                <a:gd name="T22" fmla="*/ 30 w 56"/>
                <a:gd name="T23" fmla="*/ 12 h 55"/>
                <a:gd name="T24" fmla="*/ 18 w 56"/>
                <a:gd name="T25" fmla="*/ 12 h 55"/>
                <a:gd name="T26" fmla="*/ 18 w 56"/>
                <a:gd name="T27" fmla="*/ 44 h 55"/>
                <a:gd name="T28" fmla="*/ 23 w 56"/>
                <a:gd name="T29" fmla="*/ 44 h 55"/>
                <a:gd name="T30" fmla="*/ 23 w 56"/>
                <a:gd name="T31" fmla="*/ 30 h 55"/>
                <a:gd name="T32" fmla="*/ 28 w 56"/>
                <a:gd name="T33" fmla="*/ 30 h 55"/>
                <a:gd name="T34" fmla="*/ 37 w 56"/>
                <a:gd name="T35" fmla="*/ 44 h 55"/>
                <a:gd name="T36" fmla="*/ 42 w 56"/>
                <a:gd name="T37" fmla="*/ 44 h 55"/>
                <a:gd name="T38" fmla="*/ 33 w 56"/>
                <a:gd name="T39" fmla="*/ 30 h 55"/>
                <a:gd name="T40" fmla="*/ 41 w 56"/>
                <a:gd name="T41" fmla="*/ 21 h 55"/>
                <a:gd name="T42" fmla="*/ 23 w 56"/>
                <a:gd name="T43" fmla="*/ 26 h 55"/>
                <a:gd name="T44" fmla="*/ 23 w 56"/>
                <a:gd name="T45" fmla="*/ 16 h 55"/>
                <a:gd name="T46" fmla="*/ 29 w 56"/>
                <a:gd name="T47" fmla="*/ 16 h 55"/>
                <a:gd name="T48" fmla="*/ 36 w 56"/>
                <a:gd name="T49" fmla="*/ 21 h 55"/>
                <a:gd name="T50" fmla="*/ 28 w 56"/>
                <a:gd name="T51" fmla="*/ 26 h 55"/>
                <a:gd name="T52" fmla="*/ 23 w 56"/>
                <a:gd name="T53" fmla="*/ 2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55">
                  <a:moveTo>
                    <a:pt x="29" y="0"/>
                  </a:moveTo>
                  <a:cubicBezTo>
                    <a:pt x="13" y="0"/>
                    <a:pt x="0" y="12"/>
                    <a:pt x="0" y="28"/>
                  </a:cubicBezTo>
                  <a:cubicBezTo>
                    <a:pt x="0" y="44"/>
                    <a:pt x="13" y="55"/>
                    <a:pt x="29" y="55"/>
                  </a:cubicBezTo>
                  <a:cubicBezTo>
                    <a:pt x="44" y="55"/>
                    <a:pt x="56" y="44"/>
                    <a:pt x="56" y="28"/>
                  </a:cubicBezTo>
                  <a:cubicBezTo>
                    <a:pt x="56" y="12"/>
                    <a:pt x="44" y="0"/>
                    <a:pt x="29" y="0"/>
                  </a:cubicBezTo>
                  <a:close/>
                  <a:moveTo>
                    <a:pt x="29" y="51"/>
                  </a:moveTo>
                  <a:cubicBezTo>
                    <a:pt x="16" y="51"/>
                    <a:pt x="6" y="41"/>
                    <a:pt x="6" y="28"/>
                  </a:cubicBezTo>
                  <a:cubicBezTo>
                    <a:pt x="6" y="15"/>
                    <a:pt x="16" y="5"/>
                    <a:pt x="29" y="5"/>
                  </a:cubicBezTo>
                  <a:cubicBezTo>
                    <a:pt x="41" y="5"/>
                    <a:pt x="51" y="15"/>
                    <a:pt x="51" y="28"/>
                  </a:cubicBezTo>
                  <a:cubicBezTo>
                    <a:pt x="51" y="41"/>
                    <a:pt x="41" y="51"/>
                    <a:pt x="29" y="51"/>
                  </a:cubicBezTo>
                  <a:close/>
                  <a:moveTo>
                    <a:pt x="41" y="21"/>
                  </a:moveTo>
                  <a:cubicBezTo>
                    <a:pt x="41" y="15"/>
                    <a:pt x="38" y="12"/>
                    <a:pt x="30" y="12"/>
                  </a:cubicBezTo>
                  <a:cubicBezTo>
                    <a:pt x="18" y="12"/>
                    <a:pt x="18" y="12"/>
                    <a:pt x="18" y="12"/>
                  </a:cubicBezTo>
                  <a:cubicBezTo>
                    <a:pt x="18" y="44"/>
                    <a:pt x="18" y="44"/>
                    <a:pt x="18" y="44"/>
                  </a:cubicBezTo>
                  <a:cubicBezTo>
                    <a:pt x="23" y="44"/>
                    <a:pt x="23" y="44"/>
                    <a:pt x="23" y="44"/>
                  </a:cubicBezTo>
                  <a:cubicBezTo>
                    <a:pt x="23" y="30"/>
                    <a:pt x="23" y="30"/>
                    <a:pt x="23" y="30"/>
                  </a:cubicBezTo>
                  <a:cubicBezTo>
                    <a:pt x="28" y="30"/>
                    <a:pt x="28" y="30"/>
                    <a:pt x="28" y="30"/>
                  </a:cubicBezTo>
                  <a:cubicBezTo>
                    <a:pt x="37" y="44"/>
                    <a:pt x="37" y="44"/>
                    <a:pt x="37" y="44"/>
                  </a:cubicBezTo>
                  <a:cubicBezTo>
                    <a:pt x="42" y="44"/>
                    <a:pt x="42" y="44"/>
                    <a:pt x="42" y="44"/>
                  </a:cubicBezTo>
                  <a:cubicBezTo>
                    <a:pt x="33" y="30"/>
                    <a:pt x="33" y="30"/>
                    <a:pt x="33" y="30"/>
                  </a:cubicBezTo>
                  <a:cubicBezTo>
                    <a:pt x="38" y="29"/>
                    <a:pt x="41" y="27"/>
                    <a:pt x="41" y="21"/>
                  </a:cubicBezTo>
                  <a:close/>
                  <a:moveTo>
                    <a:pt x="23" y="26"/>
                  </a:moveTo>
                  <a:cubicBezTo>
                    <a:pt x="23" y="16"/>
                    <a:pt x="23" y="16"/>
                    <a:pt x="23" y="16"/>
                  </a:cubicBezTo>
                  <a:cubicBezTo>
                    <a:pt x="29" y="16"/>
                    <a:pt x="29" y="16"/>
                    <a:pt x="29" y="16"/>
                  </a:cubicBezTo>
                  <a:cubicBezTo>
                    <a:pt x="33" y="16"/>
                    <a:pt x="36" y="17"/>
                    <a:pt x="36" y="21"/>
                  </a:cubicBezTo>
                  <a:cubicBezTo>
                    <a:pt x="36" y="26"/>
                    <a:pt x="33" y="26"/>
                    <a:pt x="28" y="26"/>
                  </a:cubicBez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solidFill>
                  <a:prstClr val="black"/>
                </a:solidFill>
              </a:endParaRPr>
            </a:p>
          </p:txBody>
        </p:sp>
      </p:grpSp>
      <p:sp>
        <p:nvSpPr>
          <p:cNvPr id="82" name="Text Placeholder 81"/>
          <p:cNvSpPr>
            <a:spLocks noGrp="1"/>
          </p:cNvSpPr>
          <p:nvPr>
            <p:ph type="body" sz="quarter" idx="13" hasCustomPrompt="1"/>
          </p:nvPr>
        </p:nvSpPr>
        <p:spPr>
          <a:xfrm>
            <a:off x="390526" y="1724343"/>
            <a:ext cx="6795860" cy="1655762"/>
          </a:xfrm>
        </p:spPr>
        <p:txBody>
          <a:bodyPr anchor="ctr">
            <a:normAutofit/>
          </a:bodyPr>
          <a:lstStyle>
            <a:lvl1pPr marL="0" indent="0">
              <a:buFontTx/>
              <a:buNone/>
              <a:defRPr sz="5398" baseline="0">
                <a:solidFill>
                  <a:schemeClr val="bg1"/>
                </a:solidFill>
                <a:latin typeface="Qualcomm Office Bold" panose="020B0803030202060203" pitchFamily="34" charset="0"/>
              </a:defRPr>
            </a:lvl1pPr>
          </a:lstStyle>
          <a:p>
            <a:pPr lvl="0"/>
            <a:r>
              <a:rPr lang="en-US"/>
              <a:t>Click here to edit master</a:t>
            </a:r>
          </a:p>
        </p:txBody>
      </p:sp>
      <p:sp>
        <p:nvSpPr>
          <p:cNvPr id="81" name="Rectangle 80"/>
          <p:cNvSpPr/>
          <p:nvPr userDrawn="1"/>
        </p:nvSpPr>
        <p:spPr bwMode="white">
          <a:xfrm>
            <a:off x="11600265" y="6512488"/>
            <a:ext cx="274320" cy="220100"/>
          </a:xfrm>
          <a:prstGeom prst="rect">
            <a:avLst/>
          </a:prstGeom>
          <a:solidFill>
            <a:srgbClr val="008D95"/>
          </a:solidFill>
          <a:ln>
            <a:noFill/>
          </a:ln>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a:endParaRPr lang="en-US" sz="1799" err="1">
              <a:solidFill>
                <a:srgbClr val="FFFFFF"/>
              </a:solidFill>
            </a:endParaRPr>
          </a:p>
        </p:txBody>
      </p:sp>
    </p:spTree>
    <p:extLst>
      <p:ext uri="{BB962C8B-B14F-4D97-AF65-F5344CB8AC3E}">
        <p14:creationId xmlns:p14="http://schemas.microsoft.com/office/powerpoint/2010/main" val="125798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5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6" presetClass="emph" presetSubtype="0" accel="100000" autoRev="1" fill="hold" nodeType="withEffect">
                                  <p:stCondLst>
                                    <p:cond delay="650"/>
                                  </p:stCondLst>
                                  <p:childTnLst>
                                    <p:animScale>
                                      <p:cBhvr>
                                        <p:cTn id="9" dur="500" fill="hold"/>
                                        <p:tgtEl>
                                          <p:spTgt spid="54"/>
                                        </p:tgtEl>
                                      </p:cBhvr>
                                      <p:by x="100000" y="0"/>
                                    </p:animScale>
                                  </p:childTnLst>
                                </p:cTn>
                              </p:par>
                              <p:par>
                                <p:cTn id="10" presetID="10" presetClass="entr" presetSubtype="0" fill="hold" nodeType="with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750"/>
                                        <p:tgtEl>
                                          <p:spTgt spid="50"/>
                                        </p:tgtEl>
                                      </p:cBhvr>
                                    </p:animEffect>
                                  </p:childTnLst>
                                </p:cTn>
                              </p:par>
                              <p:par>
                                <p:cTn id="13" presetID="2" presetClass="entr" presetSubtype="8" decel="24000" fill="hold" nodeType="withEffect">
                                  <p:stCondLst>
                                    <p:cond delay="0"/>
                                  </p:stCondLst>
                                  <p:childTnLst>
                                    <p:set>
                                      <p:cBhvr>
                                        <p:cTn id="14" dur="1" fill="hold">
                                          <p:stCondLst>
                                            <p:cond delay="0"/>
                                          </p:stCondLst>
                                        </p:cTn>
                                        <p:tgtEl>
                                          <p:spTgt spid="50"/>
                                        </p:tgtEl>
                                        <p:attrNameLst>
                                          <p:attrName>style.visibility</p:attrName>
                                        </p:attrNameLst>
                                      </p:cBhvr>
                                      <p:to>
                                        <p:strVal val="visible"/>
                                      </p:to>
                                    </p:set>
                                    <p:anim calcmode="lin" valueType="num">
                                      <p:cBhvr additive="base">
                                        <p:cTn id="15" dur="800" fill="hold"/>
                                        <p:tgtEl>
                                          <p:spTgt spid="50"/>
                                        </p:tgtEl>
                                        <p:attrNameLst>
                                          <p:attrName>ppt_x</p:attrName>
                                        </p:attrNameLst>
                                      </p:cBhvr>
                                      <p:tavLst>
                                        <p:tav tm="0">
                                          <p:val>
                                            <p:strVal val="0-#ppt_w/2"/>
                                          </p:val>
                                        </p:tav>
                                        <p:tav tm="100000">
                                          <p:val>
                                            <p:strVal val="#ppt_x"/>
                                          </p:val>
                                        </p:tav>
                                      </p:tavLst>
                                    </p:anim>
                                    <p:anim calcmode="lin" valueType="num">
                                      <p:cBhvr additive="base">
                                        <p:cTn id="16" dur="800" fill="hold"/>
                                        <p:tgtEl>
                                          <p:spTgt spid="50"/>
                                        </p:tgtEl>
                                        <p:attrNameLst>
                                          <p:attrName>ppt_y</p:attrName>
                                        </p:attrNameLst>
                                      </p:cBhvr>
                                      <p:tavLst>
                                        <p:tav tm="0">
                                          <p:val>
                                            <p:strVal val="#ppt_y"/>
                                          </p:val>
                                        </p:tav>
                                        <p:tav tm="100000">
                                          <p:val>
                                            <p:strVal val="#ppt_y"/>
                                          </p:val>
                                        </p:tav>
                                      </p:tavLst>
                                    </p:anim>
                                  </p:childTnLst>
                                </p:cTn>
                              </p:par>
                              <p:par>
                                <p:cTn id="17" presetID="31" presetClass="entr" presetSubtype="0" fill="hold" nodeType="withEffect">
                                  <p:stCondLst>
                                    <p:cond delay="100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par>
                                <p:cTn id="23" presetID="22" presetClass="entr" presetSubtype="1" fill="hold" nodeType="withEffect">
                                  <p:stCondLst>
                                    <p:cond delay="1500"/>
                                  </p:stCondLst>
                                  <p:childTnLst>
                                    <p:set>
                                      <p:cBhvr>
                                        <p:cTn id="24" dur="1" fill="hold">
                                          <p:stCondLst>
                                            <p:cond delay="0"/>
                                          </p:stCondLst>
                                        </p:cTn>
                                        <p:tgtEl>
                                          <p:spTgt spid="7"/>
                                        </p:tgtEl>
                                        <p:attrNameLst>
                                          <p:attrName>style.visibility</p:attrName>
                                        </p:attrNameLst>
                                      </p:cBhvr>
                                      <p:to>
                                        <p:strVal val="visible"/>
                                      </p:to>
                                    </p:set>
                                    <p:animEffect transition="in" filter="wipe(up)">
                                      <p:cBhvr>
                                        <p:cTn id="25" dur="500"/>
                                        <p:tgtEl>
                                          <p:spTgt spid="7"/>
                                        </p:tgtEl>
                                      </p:cBhvr>
                                    </p:animEffect>
                                  </p:childTnLst>
                                </p:cTn>
                              </p:par>
                              <p:par>
                                <p:cTn id="26" presetID="35" presetClass="entr" presetSubtype="0" fill="hold" nodeType="withEffect">
                                  <p:stCondLst>
                                    <p:cond delay="10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2000"/>
                                        <p:tgtEl>
                                          <p:spTgt spid="36"/>
                                        </p:tgtEl>
                                      </p:cBhvr>
                                    </p:animEffect>
                                    <p:anim calcmode="lin" valueType="num">
                                      <p:cBhvr>
                                        <p:cTn id="29" dur="2000" fill="hold"/>
                                        <p:tgtEl>
                                          <p:spTgt spid="36"/>
                                        </p:tgtEl>
                                        <p:attrNameLst>
                                          <p:attrName>style.rotation</p:attrName>
                                        </p:attrNameLst>
                                      </p:cBhvr>
                                      <p:tavLst>
                                        <p:tav tm="0">
                                          <p:val>
                                            <p:fltVal val="720"/>
                                          </p:val>
                                        </p:tav>
                                        <p:tav tm="100000">
                                          <p:val>
                                            <p:fltVal val="0"/>
                                          </p:val>
                                        </p:tav>
                                      </p:tavLst>
                                    </p:anim>
                                    <p:anim calcmode="lin" valueType="num">
                                      <p:cBhvr>
                                        <p:cTn id="30" dur="2000" fill="hold"/>
                                        <p:tgtEl>
                                          <p:spTgt spid="36"/>
                                        </p:tgtEl>
                                        <p:attrNameLst>
                                          <p:attrName>ppt_h</p:attrName>
                                        </p:attrNameLst>
                                      </p:cBhvr>
                                      <p:tavLst>
                                        <p:tav tm="0">
                                          <p:val>
                                            <p:fltVal val="0"/>
                                          </p:val>
                                        </p:tav>
                                        <p:tav tm="100000">
                                          <p:val>
                                            <p:strVal val="#ppt_h"/>
                                          </p:val>
                                        </p:tav>
                                      </p:tavLst>
                                    </p:anim>
                                    <p:anim calcmode="lin" valueType="num">
                                      <p:cBhvr>
                                        <p:cTn id="31" dur="2000" fill="hold"/>
                                        <p:tgtEl>
                                          <p:spTgt spid="36"/>
                                        </p:tgtEl>
                                        <p:attrNameLst>
                                          <p:attrName>ppt_w</p:attrName>
                                        </p:attrNameLst>
                                      </p:cBhvr>
                                      <p:tavLst>
                                        <p:tav tm="0">
                                          <p:val>
                                            <p:fltVal val="0"/>
                                          </p:val>
                                        </p:tav>
                                        <p:tav tm="100000">
                                          <p:val>
                                            <p:strVal val="#ppt_w"/>
                                          </p:val>
                                        </p:tav>
                                      </p:tavLst>
                                    </p:anim>
                                  </p:childTnLst>
                                </p:cTn>
                              </p:par>
                              <p:par>
                                <p:cTn id="32" presetID="10" presetClass="entr" presetSubtype="0" fill="hold" nodeType="withEffect">
                                  <p:stCondLst>
                                    <p:cond delay="250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800"/>
                                        <p:tgtEl>
                                          <p:spTgt spid="18"/>
                                        </p:tgtEl>
                                      </p:cBhvr>
                                    </p:animEffect>
                                  </p:childTnLst>
                                </p:cTn>
                              </p:par>
                              <p:par>
                                <p:cTn id="35" presetID="35" presetClass="entr" presetSubtype="0" fill="hold" nodeType="withEffect">
                                  <p:stCondLst>
                                    <p:cond delay="10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2000"/>
                                        <p:tgtEl>
                                          <p:spTgt spid="24"/>
                                        </p:tgtEl>
                                      </p:cBhvr>
                                    </p:animEffect>
                                    <p:anim calcmode="lin" valueType="num">
                                      <p:cBhvr>
                                        <p:cTn id="38" dur="2000" fill="hold"/>
                                        <p:tgtEl>
                                          <p:spTgt spid="24"/>
                                        </p:tgtEl>
                                        <p:attrNameLst>
                                          <p:attrName>style.rotation</p:attrName>
                                        </p:attrNameLst>
                                      </p:cBhvr>
                                      <p:tavLst>
                                        <p:tav tm="0">
                                          <p:val>
                                            <p:fltVal val="720"/>
                                          </p:val>
                                        </p:tav>
                                        <p:tav tm="100000">
                                          <p:val>
                                            <p:fltVal val="0"/>
                                          </p:val>
                                        </p:tav>
                                      </p:tavLst>
                                    </p:anim>
                                    <p:anim calcmode="lin" valueType="num">
                                      <p:cBhvr>
                                        <p:cTn id="39" dur="2000" fill="hold"/>
                                        <p:tgtEl>
                                          <p:spTgt spid="24"/>
                                        </p:tgtEl>
                                        <p:attrNameLst>
                                          <p:attrName>ppt_h</p:attrName>
                                        </p:attrNameLst>
                                      </p:cBhvr>
                                      <p:tavLst>
                                        <p:tav tm="0">
                                          <p:val>
                                            <p:fltVal val="0"/>
                                          </p:val>
                                        </p:tav>
                                        <p:tav tm="100000">
                                          <p:val>
                                            <p:strVal val="#ppt_h"/>
                                          </p:val>
                                        </p:tav>
                                      </p:tavLst>
                                    </p:anim>
                                    <p:anim calcmode="lin" valueType="num">
                                      <p:cBhvr>
                                        <p:cTn id="40" dur="2000" fill="hold"/>
                                        <p:tgtEl>
                                          <p:spTgt spid="24"/>
                                        </p:tgtEl>
                                        <p:attrNameLst>
                                          <p:attrName>ppt_w</p:attrName>
                                        </p:attrNameLst>
                                      </p:cBhvr>
                                      <p:tavLst>
                                        <p:tav tm="0">
                                          <p:val>
                                            <p:fltVal val="0"/>
                                          </p:val>
                                        </p:tav>
                                        <p:tav tm="100000">
                                          <p:val>
                                            <p:strVal val="#ppt_w"/>
                                          </p:val>
                                        </p:tav>
                                      </p:tavLst>
                                    </p:anim>
                                  </p:childTnLst>
                                </p:cTn>
                              </p:par>
                              <p:par>
                                <p:cTn id="41" presetID="22" presetClass="entr" presetSubtype="1" fill="hold" grpId="0" nodeType="withEffect">
                                  <p:stCondLst>
                                    <p:cond delay="2450"/>
                                  </p:stCondLst>
                                  <p:childTnLst>
                                    <p:set>
                                      <p:cBhvr>
                                        <p:cTn id="42" dur="1" fill="hold">
                                          <p:stCondLst>
                                            <p:cond delay="0"/>
                                          </p:stCondLst>
                                        </p:cTn>
                                        <p:tgtEl>
                                          <p:spTgt spid="13"/>
                                        </p:tgtEl>
                                        <p:attrNameLst>
                                          <p:attrName>style.visibility</p:attrName>
                                        </p:attrNameLst>
                                      </p:cBhvr>
                                      <p:to>
                                        <p:strVal val="visible"/>
                                      </p:to>
                                    </p:set>
                                    <p:animEffect transition="in" filter="wipe(up)">
                                      <p:cBhvr>
                                        <p:cTn id="43" dur="500"/>
                                        <p:tgtEl>
                                          <p:spTgt spid="13"/>
                                        </p:tgtEl>
                                      </p:cBhvr>
                                    </p:animEffect>
                                  </p:childTnLst>
                                </p:cTn>
                              </p:par>
                              <p:par>
                                <p:cTn id="44" presetID="10" presetClass="entr" presetSubtype="0" fill="hold" grpId="0" nodeType="withEffect">
                                  <p:stCondLst>
                                    <p:cond delay="285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par>
                                <p:cTn id="47" presetID="19" presetClass="entr" presetSubtype="10" fill="hold" grpId="1" nodeType="withEffect">
                                  <p:stCondLst>
                                    <p:cond delay="2850"/>
                                  </p:stCondLst>
                                  <p:childTnLst>
                                    <p:set>
                                      <p:cBhvr>
                                        <p:cTn id="48" dur="1" fill="hold">
                                          <p:stCondLst>
                                            <p:cond delay="0"/>
                                          </p:stCondLst>
                                        </p:cTn>
                                        <p:tgtEl>
                                          <p:spTgt spid="14"/>
                                        </p:tgtEl>
                                        <p:attrNameLst>
                                          <p:attrName>style.visibility</p:attrName>
                                        </p:attrNameLst>
                                      </p:cBhvr>
                                      <p:to>
                                        <p:strVal val="visible"/>
                                      </p:to>
                                    </p:set>
                                    <p:anim calcmode="lin" valueType="num">
                                      <p:cBhvr>
                                        <p:cTn id="49" dur="500" fill="hold"/>
                                        <p:tgtEl>
                                          <p:spTgt spid="14"/>
                                        </p:tgtEl>
                                        <p:attrNameLst>
                                          <p:attrName>ppt_w</p:attrName>
                                        </p:attrNameLst>
                                      </p:cBhvr>
                                      <p:tavLst>
                                        <p:tav tm="0" fmla="#ppt_w*sin(2.5*pi*$)">
                                          <p:val>
                                            <p:fltVal val="0"/>
                                          </p:val>
                                        </p:tav>
                                        <p:tav tm="100000">
                                          <p:val>
                                            <p:fltVal val="1"/>
                                          </p:val>
                                        </p:tav>
                                      </p:tavLst>
                                    </p:anim>
                                    <p:anim calcmode="lin" valueType="num">
                                      <p:cBhvr>
                                        <p:cTn id="50" dur="500" fill="hold"/>
                                        <p:tgtEl>
                                          <p:spTgt spid="14"/>
                                        </p:tgtEl>
                                        <p:attrNameLst>
                                          <p:attrName>ppt_h</p:attrName>
                                        </p:attrNameLst>
                                      </p:cBhvr>
                                      <p:tavLst>
                                        <p:tav tm="0">
                                          <p:val>
                                            <p:strVal val="#ppt_h"/>
                                          </p:val>
                                        </p:tav>
                                        <p:tav tm="100000">
                                          <p:val>
                                            <p:strVal val="#ppt_h"/>
                                          </p:val>
                                        </p:tav>
                                      </p:tavLst>
                                    </p:anim>
                                  </p:childTnLst>
                                </p:cTn>
                              </p:par>
                              <p:par>
                                <p:cTn id="51" presetID="31" presetClass="entr" presetSubtype="0" fill="hold" nodeType="withEffect">
                                  <p:stCondLst>
                                    <p:cond delay="235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w</p:attrName>
                                        </p:attrNameLst>
                                      </p:cBhvr>
                                      <p:tavLst>
                                        <p:tav tm="0">
                                          <p:val>
                                            <p:fltVal val="0"/>
                                          </p:val>
                                        </p:tav>
                                        <p:tav tm="100000">
                                          <p:val>
                                            <p:strVal val="#ppt_w"/>
                                          </p:val>
                                        </p:tav>
                                      </p:tavLst>
                                    </p:anim>
                                    <p:anim calcmode="lin" valueType="num">
                                      <p:cBhvr>
                                        <p:cTn id="54" dur="1000" fill="hold"/>
                                        <p:tgtEl>
                                          <p:spTgt spid="21"/>
                                        </p:tgtEl>
                                        <p:attrNameLst>
                                          <p:attrName>ppt_h</p:attrName>
                                        </p:attrNameLst>
                                      </p:cBhvr>
                                      <p:tavLst>
                                        <p:tav tm="0">
                                          <p:val>
                                            <p:fltVal val="0"/>
                                          </p:val>
                                        </p:tav>
                                        <p:tav tm="100000">
                                          <p:val>
                                            <p:strVal val="#ppt_h"/>
                                          </p:val>
                                        </p:tav>
                                      </p:tavLst>
                                    </p:anim>
                                    <p:anim calcmode="lin" valueType="num">
                                      <p:cBhvr>
                                        <p:cTn id="55" dur="1000" fill="hold"/>
                                        <p:tgtEl>
                                          <p:spTgt spid="21"/>
                                        </p:tgtEl>
                                        <p:attrNameLst>
                                          <p:attrName>style.rotation</p:attrName>
                                        </p:attrNameLst>
                                      </p:cBhvr>
                                      <p:tavLst>
                                        <p:tav tm="0">
                                          <p:val>
                                            <p:fltVal val="90"/>
                                          </p:val>
                                        </p:tav>
                                        <p:tav tm="100000">
                                          <p:val>
                                            <p:fltVal val="0"/>
                                          </p:val>
                                        </p:tav>
                                      </p:tavLst>
                                    </p:anim>
                                    <p:animEffect transition="in" filter="fade">
                                      <p:cBhvr>
                                        <p:cTn id="56" dur="1000"/>
                                        <p:tgtEl>
                                          <p:spTgt spid="21"/>
                                        </p:tgtEl>
                                      </p:cBhvr>
                                    </p:animEffect>
                                  </p:childTnLst>
                                </p:cTn>
                              </p:par>
                              <p:par>
                                <p:cTn id="57" presetID="31" presetClass="entr" presetSubtype="0" fill="hold" nodeType="withEffect">
                                  <p:stCondLst>
                                    <p:cond delay="2350"/>
                                  </p:stCondLst>
                                  <p:childTnLst>
                                    <p:set>
                                      <p:cBhvr>
                                        <p:cTn id="58" dur="1" fill="hold">
                                          <p:stCondLst>
                                            <p:cond delay="0"/>
                                          </p:stCondLst>
                                        </p:cTn>
                                        <p:tgtEl>
                                          <p:spTgt spid="15"/>
                                        </p:tgtEl>
                                        <p:attrNameLst>
                                          <p:attrName>style.visibility</p:attrName>
                                        </p:attrNameLst>
                                      </p:cBhvr>
                                      <p:to>
                                        <p:strVal val="visible"/>
                                      </p:to>
                                    </p:set>
                                    <p:anim calcmode="lin" valueType="num">
                                      <p:cBhvr>
                                        <p:cTn id="59" dur="1000" fill="hold"/>
                                        <p:tgtEl>
                                          <p:spTgt spid="15"/>
                                        </p:tgtEl>
                                        <p:attrNameLst>
                                          <p:attrName>ppt_w</p:attrName>
                                        </p:attrNameLst>
                                      </p:cBhvr>
                                      <p:tavLst>
                                        <p:tav tm="0">
                                          <p:val>
                                            <p:fltVal val="0"/>
                                          </p:val>
                                        </p:tav>
                                        <p:tav tm="100000">
                                          <p:val>
                                            <p:strVal val="#ppt_w"/>
                                          </p:val>
                                        </p:tav>
                                      </p:tavLst>
                                    </p:anim>
                                    <p:anim calcmode="lin" valueType="num">
                                      <p:cBhvr>
                                        <p:cTn id="60" dur="1000" fill="hold"/>
                                        <p:tgtEl>
                                          <p:spTgt spid="15"/>
                                        </p:tgtEl>
                                        <p:attrNameLst>
                                          <p:attrName>ppt_h</p:attrName>
                                        </p:attrNameLst>
                                      </p:cBhvr>
                                      <p:tavLst>
                                        <p:tav tm="0">
                                          <p:val>
                                            <p:fltVal val="0"/>
                                          </p:val>
                                        </p:tav>
                                        <p:tav tm="100000">
                                          <p:val>
                                            <p:strVal val="#ppt_h"/>
                                          </p:val>
                                        </p:tav>
                                      </p:tavLst>
                                    </p:anim>
                                    <p:anim calcmode="lin" valueType="num">
                                      <p:cBhvr>
                                        <p:cTn id="61" dur="1000" fill="hold"/>
                                        <p:tgtEl>
                                          <p:spTgt spid="15"/>
                                        </p:tgtEl>
                                        <p:attrNameLst>
                                          <p:attrName>style.rotation</p:attrName>
                                        </p:attrNameLst>
                                      </p:cBhvr>
                                      <p:tavLst>
                                        <p:tav tm="0">
                                          <p:val>
                                            <p:fltVal val="90"/>
                                          </p:val>
                                        </p:tav>
                                        <p:tav tm="100000">
                                          <p:val>
                                            <p:fltVal val="0"/>
                                          </p:val>
                                        </p:tav>
                                      </p:tavLst>
                                    </p:anim>
                                    <p:animEffect transition="in" filter="fade">
                                      <p:cBhvr>
                                        <p:cTn id="62" dur="1000"/>
                                        <p:tgtEl>
                                          <p:spTgt spid="15"/>
                                        </p:tgtEl>
                                      </p:cBhvr>
                                    </p:animEffect>
                                  </p:childTnLst>
                                </p:cTn>
                              </p:par>
                              <p:par>
                                <p:cTn id="63" presetID="35" presetClass="path" presetSubtype="0" accel="46667" decel="53333" autoRev="1" fill="hold" grpId="0" nodeType="withEffect">
                                  <p:stCondLst>
                                    <p:cond delay="2600"/>
                                  </p:stCondLst>
                                  <p:childTnLst>
                                    <p:animMotion origin="layout" path="M 2.94087E-6 4.07407E-6 L -0.13051 4.07407E-6 " pathEditMode="relative" rAng="0" ptsTypes="AA">
                                      <p:cBhvr>
                                        <p:cTn id="64" dur="150" fill="hold"/>
                                        <p:tgtEl>
                                          <p:spTgt spid="49"/>
                                        </p:tgtEl>
                                        <p:attrNameLst>
                                          <p:attrName>ppt_x</p:attrName>
                                          <p:attrName>ppt_y</p:attrName>
                                        </p:attrNameLst>
                                      </p:cBhvr>
                                      <p:rCtr x="-6525" y="0"/>
                                    </p:animMotion>
                                  </p:childTnLst>
                                </p:cTn>
                              </p:par>
                              <p:par>
                                <p:cTn id="65" presetID="10" presetClass="entr" presetSubtype="0" fill="hold" nodeType="withEffect">
                                  <p:stCondLst>
                                    <p:cond delay="45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42" presetClass="path" presetSubtype="0" accel="5000" decel="28000" fill="hold" nodeType="withEffect">
                                  <p:stCondLst>
                                    <p:cond delay="450"/>
                                  </p:stCondLst>
                                  <p:childTnLst>
                                    <p:animMotion origin="layout" path="M -1.04167E-6 -9.24855E-7 L -0.17031 0.55445 " pathEditMode="relative" rAng="0" ptsTypes="AA">
                                      <p:cBhvr>
                                        <p:cTn id="69" dur="1000" spd="-100000" fill="hold"/>
                                        <p:tgtEl>
                                          <p:spTgt spid="63"/>
                                        </p:tgtEl>
                                        <p:attrNameLst>
                                          <p:attrName>ppt_x</p:attrName>
                                          <p:attrName>ppt_y</p:attrName>
                                        </p:attrNameLst>
                                      </p:cBhvr>
                                      <p:rCtr x="-8516" y="27723"/>
                                    </p:animMotion>
                                  </p:childTnLst>
                                </p:cTn>
                              </p:par>
                              <p:par>
                                <p:cTn id="70" presetID="6" presetClass="emph" presetSubtype="0" accel="50000" fill="hold" nodeType="withEffect">
                                  <p:stCondLst>
                                    <p:cond delay="450"/>
                                  </p:stCondLst>
                                  <p:childTnLst>
                                    <p:animScale>
                                      <p:cBhvr>
                                        <p:cTn id="71" dur="1000" fill="hold"/>
                                        <p:tgtEl>
                                          <p:spTgt spid="63"/>
                                        </p:tgtEl>
                                      </p:cBhvr>
                                      <p:by x="85000" y="85000"/>
                                    </p:animScale>
                                  </p:childTnLst>
                                </p:cTn>
                              </p:par>
                              <p:par>
                                <p:cTn id="72" presetID="22" presetClass="entr" presetSubtype="8" fill="hold" nodeType="withEffect">
                                  <p:stCondLst>
                                    <p:cond delay="0"/>
                                  </p:stCondLst>
                                  <p:childTnLst>
                                    <p:set>
                                      <p:cBhvr>
                                        <p:cTn id="73" dur="1" fill="hold">
                                          <p:stCondLst>
                                            <p:cond delay="0"/>
                                          </p:stCondLst>
                                        </p:cTn>
                                        <p:tgtEl>
                                          <p:spTgt spid="69"/>
                                        </p:tgtEl>
                                        <p:attrNameLst>
                                          <p:attrName>style.visibility</p:attrName>
                                        </p:attrNameLst>
                                      </p:cBhvr>
                                      <p:to>
                                        <p:strVal val="visible"/>
                                      </p:to>
                                    </p:set>
                                    <p:animEffect transition="in" filter="wipe(left)">
                                      <p:cBhvr>
                                        <p:cTn id="74"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3" grpId="2" animBg="1"/>
      <p:bldP spid="13" grpId="3" animBg="1"/>
      <p:bldP spid="13" grpId="4" animBg="1"/>
      <p:bldP spid="13" grpId="5" animBg="1"/>
      <p:bldP spid="13" grpId="6" animBg="1"/>
      <p:bldP spid="14" grpId="0" animBg="1"/>
      <p:bldP spid="14" grpId="1" animBg="1"/>
      <p:bldP spid="14" grpId="2" animBg="1"/>
      <p:bldP spid="14" grpId="3" animBg="1"/>
      <p:bldP spid="14" grpId="4" animBg="1"/>
      <p:bldP spid="14" grpId="5" animBg="1"/>
      <p:bldP spid="14" grpId="6" animBg="1"/>
      <p:bldP spid="14" grpId="7" animBg="1"/>
      <p:bldP spid="14" grpId="8" animBg="1"/>
      <p:bldP spid="14" grpId="9" animBg="1"/>
      <p:bldP spid="14" grpId="10" animBg="1"/>
      <p:bldP spid="14" grpId="11" animBg="1"/>
      <p:bldP spid="14" grpId="12" animBg="1"/>
      <p:bldP spid="14" grpId="13" animBg="1"/>
      <p:bldP spid="49" grpId="0" animBg="1"/>
      <p:bldP spid="49" grpId="1" animBg="1"/>
      <p:bldP spid="49" grpId="2" animBg="1"/>
      <p:bldP spid="49" grpId="3" animBg="1"/>
      <p:bldP spid="49" grpId="4" animBg="1"/>
      <p:bldP spid="49" grpId="5" animBg="1"/>
      <p:bldP spid="49" grpId="6" animBg="1"/>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4">
            <a:extLst>
              <a:ext uri="{FF2B5EF4-FFF2-40B4-BE49-F238E27FC236}">
                <a16:creationId xmlns:a16="http://schemas.microsoft.com/office/drawing/2014/main" id="{05C0C055-71FB-4115-845F-03CCB2A81DB3}"/>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90062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theme" Target="../theme/theme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8" Type="http://schemas.openxmlformats.org/officeDocument/2006/relationships/slideLayout" Target="../slideLayouts/slideLayout55.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1" Type="http://schemas.openxmlformats.org/officeDocument/2006/relationships/slideLayout" Target="../slideLayouts/slideLayout48.xml"/><Relationship Id="rId6"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image" Target="../media/image4.png"/><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image" Target="../media/image3.emf"/><Relationship Id="rId5" Type="http://schemas.openxmlformats.org/officeDocument/2006/relationships/slideLayout" Target="../slideLayouts/slideLayout100.xml"/><Relationship Id="rId10" Type="http://schemas.openxmlformats.org/officeDocument/2006/relationships/oleObject" Target="../embeddings/oleObject1.bin"/><Relationship Id="rId4" Type="http://schemas.openxmlformats.org/officeDocument/2006/relationships/slideLayout" Target="../slideLayouts/slideLayout99.xml"/><Relationship Id="rId9"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theme" Target="../theme/theme5.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 id="2147484197" r:id="rId43"/>
    <p:sldLayoutId id="2147484198" r:id="rId44"/>
    <p:sldLayoutId id="2147484199" r:id="rId45"/>
    <p:sldLayoutId id="2147484261" r:id="rId46"/>
    <p:sldLayoutId id="2147484259" r:id="rId4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mtClean="0">
                <a:solidFill>
                  <a:srgbClr val="000000">
                    <a:lumMod val="50000"/>
                    <a:lumOff val="50000"/>
                  </a:srgbClr>
                </a:solidFill>
              </a:rPr>
              <a:pPr algn="r">
                <a:lnSpc>
                  <a:spcPct val="125000"/>
                </a:lnSpc>
              </a:pPr>
              <a:t>‹#›</a:t>
            </a:fld>
            <a:endParaRPr lang="en-US">
              <a:solidFill>
                <a:srgbClr val="000000">
                  <a:lumMod val="50000"/>
                  <a:lumOff val="50000"/>
                </a:srgbClr>
              </a:solidFill>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1456410125"/>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 id="2147484166" r:id="rId12"/>
    <p:sldLayoutId id="2147484167" r:id="rId13"/>
    <p:sldLayoutId id="2147484168" r:id="rId14"/>
    <p:sldLayoutId id="2147484169" r:id="rId15"/>
    <p:sldLayoutId id="2147484170" r:id="rId16"/>
    <p:sldLayoutId id="2147484171" r:id="rId17"/>
    <p:sldLayoutId id="2147484172" r:id="rId18"/>
    <p:sldLayoutId id="2147484173" r:id="rId19"/>
    <p:sldLayoutId id="2147484174" r:id="rId20"/>
    <p:sldLayoutId id="2147484175" r:id="rId21"/>
    <p:sldLayoutId id="2147484176" r:id="rId22"/>
    <p:sldLayoutId id="2147484177" r:id="rId23"/>
    <p:sldLayoutId id="2147484178" r:id="rId24"/>
    <p:sldLayoutId id="2147484179" r:id="rId25"/>
    <p:sldLayoutId id="2147484180" r:id="rId26"/>
    <p:sldLayoutId id="2147484181" r:id="rId27"/>
    <p:sldLayoutId id="2147484182" r:id="rId28"/>
    <p:sldLayoutId id="2147484183" r:id="rId29"/>
    <p:sldLayoutId id="2147484184" r:id="rId30"/>
    <p:sldLayoutId id="2147484185" r:id="rId31"/>
    <p:sldLayoutId id="2147484186" r:id="rId32"/>
    <p:sldLayoutId id="2147484187" r:id="rId33"/>
    <p:sldLayoutId id="2147484188" r:id="rId34"/>
    <p:sldLayoutId id="2147484189" r:id="rId35"/>
    <p:sldLayoutId id="2147484190" r:id="rId36"/>
    <p:sldLayoutId id="2147484191" r:id="rId37"/>
    <p:sldLayoutId id="2147484192" r:id="rId38"/>
    <p:sldLayoutId id="2147484193" r:id="rId39"/>
    <p:sldLayoutId id="2147484194" r:id="rId40"/>
    <p:sldLayoutId id="2147484195" r:id="rId41"/>
    <p:sldLayoutId id="2147484196" r:id="rId42"/>
    <p:sldLayoutId id="2147484227" r:id="rId43"/>
    <p:sldLayoutId id="2147484228" r:id="rId44"/>
    <p:sldLayoutId id="2147484229" r:id="rId45"/>
    <p:sldLayoutId id="2147484246" r:id="rId46"/>
    <p:sldLayoutId id="2147484244" r:id="rId47"/>
    <p:sldLayoutId id="2147484245"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6" pos="7359">
          <p15:clr>
            <a:srgbClr val="F26B43"/>
          </p15:clr>
        </p15:guide>
        <p15:guide id="7" orient="horz" pos="4181">
          <p15:clr>
            <a:srgbClr val="F26B43"/>
          </p15:clr>
        </p15:guide>
        <p15:guide id="8" orient="horz" pos="571">
          <p15:clr>
            <a:srgbClr val="F26B43"/>
          </p15:clr>
        </p15:guide>
        <p15:guide id="9" pos="33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231414" y="1934892"/>
            <a:ext cx="11432977" cy="1823576"/>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0"/>
            <a:endParaRPr lang="en-US"/>
          </a:p>
        </p:txBody>
      </p:sp>
      <p:sp>
        <p:nvSpPr>
          <p:cNvPr id="9" name="TextBox 8"/>
          <p:cNvSpPr txBox="1"/>
          <p:nvPr/>
        </p:nvSpPr>
        <p:spPr bwMode="gray">
          <a:xfrm>
            <a:off x="11523553" y="6525737"/>
            <a:ext cx="288936" cy="215444"/>
          </a:xfrm>
          <a:prstGeom prst="rect">
            <a:avLst/>
          </a:prstGeom>
          <a:noFill/>
        </p:spPr>
        <p:txBody>
          <a:bodyPr wrap="none" rtlCol="0">
            <a:spAutoFit/>
          </a:bodyPr>
          <a:lstStyle/>
          <a:p>
            <a:fld id="{0A607DED-8B1E-49A6-A07A-F6DE68304C82}" type="slidenum">
              <a:rPr lang="en-US" sz="800" smtClean="0">
                <a:solidFill>
                  <a:srgbClr val="FFFFFF">
                    <a:lumMod val="75000"/>
                  </a:srgbClr>
                </a:solidFill>
                <a:cs typeface="Arial" pitchFamily="34" charset="0"/>
              </a:rPr>
              <a:pPr/>
              <a:t>‹#›</a:t>
            </a:fld>
            <a:endParaRPr lang="en-US" sz="800">
              <a:solidFill>
                <a:srgbClr val="FFFFFF">
                  <a:lumMod val="75000"/>
                </a:srgbClr>
              </a:solidFill>
              <a:cs typeface="Arial" pitchFamily="34" charset="0"/>
            </a:endParaRPr>
          </a:p>
        </p:txBody>
      </p:sp>
      <p:sp>
        <p:nvSpPr>
          <p:cNvPr id="5" name="TextBox 4"/>
          <p:cNvSpPr txBox="1"/>
          <p:nvPr userDrawn="1"/>
        </p:nvSpPr>
        <p:spPr bwMode="gray">
          <a:xfrm>
            <a:off x="4246513" y="6680139"/>
            <a:ext cx="3402779" cy="215444"/>
          </a:xfrm>
          <a:prstGeom prst="rect">
            <a:avLst/>
          </a:prstGeom>
          <a:noFill/>
        </p:spPr>
        <p:txBody>
          <a:bodyPr wrap="none" rtlCol="0" anchor="b" anchorCtr="0">
            <a:spAutoFit/>
          </a:bodyPr>
          <a:lstStyle/>
          <a:p>
            <a:r>
              <a:rPr lang="en-US" sz="800">
                <a:solidFill>
                  <a:srgbClr val="FFFFFF">
                    <a:lumMod val="75000"/>
                  </a:srgbClr>
                </a:solidFill>
                <a:cs typeface="Arial" pitchFamily="34" charset="0"/>
              </a:rPr>
              <a:t>Qualcomm Technologies, Inc. Confidential and Proprietary – For Internal Use Only</a:t>
            </a:r>
          </a:p>
        </p:txBody>
      </p:sp>
    </p:spTree>
    <p:extLst>
      <p:ext uri="{BB962C8B-B14F-4D97-AF65-F5344CB8AC3E}">
        <p14:creationId xmlns:p14="http://schemas.microsoft.com/office/powerpoint/2010/main" val="3295311258"/>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6" r:id="rId4"/>
    <p:sldLayoutId id="2147484208" r:id="rId5"/>
    <p:sldLayoutId id="2147484209" r:id="rId6"/>
    <p:sldLayoutId id="2147484210" r:id="rId7"/>
  </p:sldLayoutIdLst>
  <p:txStyles>
    <p:titleStyle>
      <a:lvl1pPr algn="l" defTabSz="914400" rtl="0" eaLnBrk="1" latinLnBrk="0" hangingPunct="1">
        <a:lnSpc>
          <a:spcPct val="75000"/>
        </a:lnSpc>
        <a:spcBef>
          <a:spcPct val="0"/>
        </a:spcBef>
        <a:buNone/>
        <a:defRPr lang="en-US" sz="3600" kern="1200" baseline="0" dirty="0">
          <a:solidFill>
            <a:schemeClr val="tx1">
              <a:lumMod val="65000"/>
              <a:lumOff val="35000"/>
            </a:schemeClr>
          </a:solidFill>
          <a:latin typeface="Qualcomm Office Regular" pitchFamily="34" charset="0"/>
          <a:ea typeface="+mj-ea"/>
          <a:cs typeface="Arial" pitchFamily="34" charset="0"/>
        </a:defRPr>
      </a:lvl1pPr>
    </p:titleStyle>
    <p:bodyStyle>
      <a:lvl1pPr marL="342900" indent="-342900" algn="l" defTabSz="914400" rtl="0" eaLnBrk="1" latinLnBrk="0" hangingPunct="1">
        <a:lnSpc>
          <a:spcPct val="95000"/>
        </a:lnSpc>
        <a:spcBef>
          <a:spcPct val="20000"/>
        </a:spcBef>
        <a:buFontTx/>
        <a:buBlip>
          <a:blip r:embed="rId12"/>
        </a:buBlip>
        <a:defRPr lang="en-US" sz="2400" kern="1200" dirty="0" smtClean="0">
          <a:solidFill>
            <a:prstClr val="black">
              <a:lumMod val="75000"/>
              <a:lumOff val="25000"/>
            </a:prstClr>
          </a:solidFill>
          <a:latin typeface="Qualcomm Office Regular" pitchFamily="34" charset="0"/>
          <a:ea typeface="+mn-ea"/>
          <a:cs typeface="Arial" pitchFamily="34" charset="0"/>
        </a:defRPr>
      </a:lvl1pPr>
      <a:lvl2pPr marL="742950" indent="-342900" algn="l" defTabSz="914400" rtl="0" eaLnBrk="1" latinLnBrk="0" hangingPunct="1">
        <a:lnSpc>
          <a:spcPct val="95000"/>
        </a:lnSpc>
        <a:spcBef>
          <a:spcPct val="20000"/>
        </a:spcBef>
        <a:buClr>
          <a:schemeClr val="accent2"/>
        </a:buClr>
        <a:buFont typeface="Calibre Regular" pitchFamily="34" charset="0"/>
        <a:buChar char="−"/>
        <a:defRPr lang="en-US" sz="2000" kern="1200" dirty="0" smtClean="0">
          <a:solidFill>
            <a:prstClr val="black">
              <a:lumMod val="75000"/>
              <a:lumOff val="25000"/>
            </a:prstClr>
          </a:solidFill>
          <a:latin typeface="Qualcomm Office Regular" pitchFamily="34" charset="0"/>
          <a:ea typeface="+mn-ea"/>
          <a:cs typeface="Arial" pitchFamily="34" charset="0"/>
        </a:defRPr>
      </a:lvl2pPr>
      <a:lvl3pPr marL="1028700" indent="-342900" algn="l" defTabSz="914400" rtl="0" eaLnBrk="1" latinLnBrk="0" hangingPunct="1">
        <a:lnSpc>
          <a:spcPct val="95000"/>
        </a:lnSpc>
        <a:spcBef>
          <a:spcPct val="20000"/>
        </a:spcBef>
        <a:buClr>
          <a:schemeClr val="accent2"/>
        </a:buClr>
        <a:buFont typeface="Calibre Regular" pitchFamily="34" charset="0"/>
        <a:buChar char="−"/>
        <a:defRPr lang="en-US" sz="1800" kern="1200" dirty="0" smtClean="0">
          <a:solidFill>
            <a:prstClr val="black">
              <a:lumMod val="75000"/>
              <a:lumOff val="25000"/>
            </a:prstClr>
          </a:solidFill>
          <a:latin typeface="Qualcomm Office Regular" pitchFamily="34" charset="0"/>
          <a:ea typeface="+mn-ea"/>
          <a:cs typeface="Arial" pitchFamily="34" charset="0"/>
        </a:defRPr>
      </a:lvl3pPr>
      <a:lvl4pPr marL="1314450" indent="-342900" algn="l" defTabSz="914400" rtl="0" eaLnBrk="1" latinLnBrk="0" hangingPunct="1">
        <a:lnSpc>
          <a:spcPct val="95000"/>
        </a:lnSpc>
        <a:spcBef>
          <a:spcPct val="20000"/>
        </a:spcBef>
        <a:buClr>
          <a:schemeClr val="accent2"/>
        </a:buClr>
        <a:buFont typeface="Calibre Regular" pitchFamily="34" charset="0"/>
        <a:buChar char="−"/>
        <a:defRPr lang="en-US" sz="1600" kern="1200" dirty="0" smtClean="0">
          <a:solidFill>
            <a:prstClr val="black">
              <a:lumMod val="75000"/>
              <a:lumOff val="25000"/>
            </a:prstClr>
          </a:solidFill>
          <a:latin typeface="Qualcomm Office Regular" pitchFamily="34" charset="0"/>
          <a:ea typeface="+mn-ea"/>
          <a:cs typeface="Arial" pitchFamily="34" charset="0"/>
        </a:defRPr>
      </a:lvl4pPr>
      <a:lvl5pPr marL="1600200" indent="-342900" algn="l" defTabSz="914400" rtl="0" eaLnBrk="1" latinLnBrk="0" hangingPunct="1">
        <a:lnSpc>
          <a:spcPct val="95000"/>
        </a:lnSpc>
        <a:spcBef>
          <a:spcPct val="20000"/>
        </a:spcBef>
        <a:buClr>
          <a:schemeClr val="accent5"/>
        </a:buClr>
        <a:buFont typeface="Calibre Regular" pitchFamily="34" charset="0"/>
        <a:buChar char="−"/>
        <a:defRPr lang="en-US" sz="1400" kern="1200" baseline="0" dirty="0" smtClean="0">
          <a:solidFill>
            <a:prstClr val="black">
              <a:lumMod val="75000"/>
              <a:lumOff val="25000"/>
            </a:prstClr>
          </a:solidFill>
          <a:latin typeface="Qualcomm Office Regular"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Tree>
    <p:extLst>
      <p:ext uri="{BB962C8B-B14F-4D97-AF65-F5344CB8AC3E}">
        <p14:creationId xmlns:p14="http://schemas.microsoft.com/office/powerpoint/2010/main" val="1690255727"/>
      </p:ext>
    </p:extLst>
  </p:cSld>
  <p:clrMap bg1="lt1" tx1="dk1" bg2="lt2" tx2="dk2" accent1="accent1" accent2="accent2" accent3="accent3" accent4="accent4" accent5="accent5" accent6="accent6" hlink="hlink" folHlink="folHlink"/>
  <p:sldLayoutIdLst>
    <p:sldLayoutId id="2147483717" r:id="rId1"/>
    <p:sldLayoutId id="2147483838" r:id="rId2"/>
    <p:sldLayoutId id="2147484277"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72A47-0E6B-4F8D-925D-0C1725B22029}"/>
              </a:ext>
            </a:extLst>
          </p:cNvPr>
          <p:cNvSpPr>
            <a:spLocks noGrp="1"/>
          </p:cNvSpPr>
          <p:nvPr>
            <p:ph type="body" idx="1"/>
          </p:nvPr>
        </p:nvSpPr>
        <p:spPr>
          <a:xfrm>
            <a:off x="495299" y="1719071"/>
            <a:ext cx="11187111" cy="468172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495300" y="549415"/>
            <a:ext cx="11187112" cy="455189"/>
          </a:xfrm>
          <a:prstGeom prst="rect">
            <a:avLst/>
          </a:prstGeom>
        </p:spPr>
        <p:txBody>
          <a:bodyPr vert="horz" wrap="square" lIns="0" tIns="0" rIns="0" bIns="0" rtlCol="0" anchor="b">
            <a:spAutoFit/>
          </a:bodyPr>
          <a:lstStyle/>
          <a:p>
            <a:r>
              <a:rPr lang="en-US"/>
              <a:t>Click to edit Master title style</a:t>
            </a:r>
          </a:p>
        </p:txBody>
      </p:sp>
      <p:sp>
        <p:nvSpPr>
          <p:cNvPr id="98" name="TextBox 97"/>
          <p:cNvSpPr txBox="1"/>
          <p:nvPr userDrawn="1"/>
        </p:nvSpPr>
        <p:spPr>
          <a:xfrm>
            <a:off x="11571666" y="6513831"/>
            <a:ext cx="125034" cy="138243"/>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accent5">
                    <a:lumMod val="60000"/>
                    <a:lumOff val="40000"/>
                  </a:schemeClr>
                </a:solidFill>
                <a:latin typeface="+mn-lt"/>
                <a:ea typeface="+mn-ea"/>
                <a:cs typeface="+mn-cs"/>
              </a:rPr>
              <a:pPr marL="0" lvl="0" algn="r" defTabSz="914400" rtl="0" eaLnBrk="1" latinLnBrk="0" hangingPunct="1">
                <a:lnSpc>
                  <a:spcPct val="125000"/>
                </a:lnSpc>
              </a:pPr>
              <a:t>‹#›</a:t>
            </a:fld>
            <a:endParaRPr lang="en-US" sz="800" kern="1200">
              <a:solidFill>
                <a:schemeClr val="accent5">
                  <a:lumMod val="60000"/>
                  <a:lumOff val="40000"/>
                </a:schemeClr>
              </a:solidFill>
              <a:latin typeface="+mn-lt"/>
              <a:ea typeface="+mn-ea"/>
              <a:cs typeface="+mn-cs"/>
            </a:endParaRPr>
          </a:p>
        </p:txBody>
      </p:sp>
      <p:sp>
        <p:nvSpPr>
          <p:cNvPr id="5" name="Footer Placeholder 2">
            <a:extLst>
              <a:ext uri="{FF2B5EF4-FFF2-40B4-BE49-F238E27FC236}">
                <a16:creationId xmlns:a16="http://schemas.microsoft.com/office/drawing/2014/main" id="{E149C81B-6BB7-4307-8233-8B2113C697AE}"/>
              </a:ext>
            </a:extLst>
          </p:cNvPr>
          <p:cNvSpPr>
            <a:spLocks noGrp="1"/>
          </p:cNvSpPr>
          <p:nvPr>
            <p:ph type="ftr" sz="quarter" idx="3"/>
          </p:nvPr>
        </p:nvSpPr>
        <p:spPr>
          <a:xfrm>
            <a:off x="495299" y="6532895"/>
            <a:ext cx="10489691" cy="118174"/>
          </a:xfrm>
          <a:prstGeom prst="rect">
            <a:avLst/>
          </a:prstGeom>
        </p:spPr>
        <p:txBody>
          <a:bodyPr vert="horz" wrap="square" lIns="0" tIns="0" rIns="0" bIns="0" rtlCol="0" anchor="b">
            <a:spAutoFit/>
          </a:bodyPr>
          <a:lstStyle>
            <a:lvl1pPr marL="0" algn="l" defTabSz="685800" rtl="0" eaLnBrk="1" latinLnBrk="0" hangingPunct="1">
              <a:lnSpc>
                <a:spcPct val="96000"/>
              </a:lnSpc>
              <a:spcBef>
                <a:spcPts val="0"/>
              </a:spcBef>
              <a:spcAft>
                <a:spcPts val="225"/>
              </a:spcAft>
              <a:buClr>
                <a:srgbClr val="3253DC"/>
              </a:buClr>
              <a:buFont typeface="Arial" panose="020B0604020202020204" pitchFamily="34" charset="0"/>
              <a:buNone/>
              <a:defRPr lang="en-US" sz="800" kern="1200" baseline="0" smtClean="0">
                <a:solidFill>
                  <a:schemeClr val="accent5">
                    <a:lumMod val="60000"/>
                    <a:lumOff val="40000"/>
                  </a:schemeClr>
                </a:solidFill>
                <a:latin typeface="+mn-lt"/>
                <a:ea typeface="+mn-ea"/>
                <a:cs typeface="+mn-cs"/>
              </a:defRPr>
            </a:lvl1pPr>
          </a:lstStyle>
          <a:p>
            <a:r>
              <a:rPr lang="en-US"/>
              <a:t>Source sample text</a:t>
            </a:r>
          </a:p>
        </p:txBody>
      </p:sp>
    </p:spTree>
    <p:extLst>
      <p:ext uri="{BB962C8B-B14F-4D97-AF65-F5344CB8AC3E}">
        <p14:creationId xmlns:p14="http://schemas.microsoft.com/office/powerpoint/2010/main" val="3025893855"/>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 id="2147484274" r:id="rId12"/>
    <p:sldLayoutId id="2147484275" r:id="rId13"/>
    <p:sldLayoutId id="2147484276"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4000"/>
        </a:lnSpc>
        <a:spcBef>
          <a:spcPct val="0"/>
        </a:spcBef>
        <a:buNone/>
        <a:defRPr sz="3400" kern="1200" baseline="0">
          <a:solidFill>
            <a:schemeClr val="tx1"/>
          </a:solidFill>
          <a:latin typeface="+mj-lt"/>
          <a:ea typeface="+mj-ea"/>
          <a:cs typeface="+mj-cs"/>
        </a:defRPr>
      </a:lvl1pPr>
    </p:titleStyle>
    <p:bodyStyle>
      <a:lvl1pPr marL="137160" indent="-192024" algn="l" defTabSz="914400" rtl="0" eaLnBrk="1" latinLnBrk="0" hangingPunct="1">
        <a:lnSpc>
          <a:spcPct val="107000"/>
        </a:lnSpc>
        <a:spcBef>
          <a:spcPts val="1200"/>
        </a:spcBef>
        <a:buClr>
          <a:schemeClr val="accent1"/>
        </a:buClr>
        <a:buFont typeface="Arial" panose="020B0604020202020204" pitchFamily="34" charset="0"/>
        <a:buChar char="•"/>
        <a:defRPr sz="2400" kern="1200" baseline="0">
          <a:solidFill>
            <a:schemeClr val="tx1"/>
          </a:solidFill>
          <a:latin typeface="+mn-lt"/>
          <a:ea typeface="+mn-ea"/>
          <a:cs typeface="+mn-cs"/>
        </a:defRPr>
      </a:lvl1pPr>
      <a:lvl2pPr marL="356616"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baseline="0">
          <a:solidFill>
            <a:schemeClr val="tx1"/>
          </a:solidFill>
          <a:latin typeface="+mn-lt"/>
          <a:ea typeface="+mn-ea"/>
          <a:cs typeface="+mn-cs"/>
        </a:defRPr>
      </a:lvl2pPr>
      <a:lvl3pPr marL="521208" indent="-164592"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lang="en-US" sz="1600" kern="1200" dirty="0" smtClean="0">
          <a:solidFill>
            <a:schemeClr val="tx1"/>
          </a:solidFill>
          <a:latin typeface="+mn-lt"/>
          <a:ea typeface="+mn-ea"/>
          <a:cs typeface="+mn-cs"/>
        </a:defRPr>
      </a:lvl3pPr>
      <a:lvl4pPr marL="685800" indent="-164592"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96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6000"/>
        </a:lnSpc>
        <a:spcBef>
          <a:spcPts val="0"/>
        </a:spcBef>
        <a:buFont typeface="Microsoft Sans Serif" panose="020B0604020202020204" pitchFamily="34" charset="0"/>
        <a:buChar char="​"/>
        <a:defRPr sz="21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1600" kern="1200" baseline="0">
          <a:solidFill>
            <a:schemeClr val="tx1"/>
          </a:solidFill>
          <a:latin typeface="+mn-lt"/>
          <a:ea typeface="+mn-ea"/>
          <a:cs typeface="+mn-cs"/>
        </a:defRPr>
      </a:lvl7pPr>
      <a:lvl8pPr marL="0" indent="0" algn="l" defTabSz="914400" rtl="0" eaLnBrk="1" latinLnBrk="0" hangingPunct="1">
        <a:lnSpc>
          <a:spcPct val="87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7000"/>
        </a:lnSpc>
        <a:spcBef>
          <a:spcPts val="1800"/>
        </a:spcBef>
        <a:buFont typeface="Microsoft Sans Serif" panose="020B0604020202020204" pitchFamily="34" charset="0"/>
        <a:buChar char="​"/>
        <a:defRPr sz="6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12">
          <p15:clr>
            <a:srgbClr val="F26B43"/>
          </p15:clr>
        </p15:guide>
        <p15:guide id="3" orient="horz" pos="1080">
          <p15:clr>
            <a:srgbClr val="F26B43"/>
          </p15:clr>
        </p15:guide>
        <p15:guide id="4" orient="horz" pos="360">
          <p15:clr>
            <a:srgbClr val="F26B43"/>
          </p15:clr>
        </p15:guide>
        <p15:guide id="6" pos="7368">
          <p15:clr>
            <a:srgbClr val="F26B43"/>
          </p15:clr>
        </p15:guide>
        <p15:guide id="7" orient="horz" pos="4176">
          <p15:clr>
            <a:srgbClr val="F26B43"/>
          </p15:clr>
        </p15:guide>
        <p15:guide id="8" orient="horz" pos="576">
          <p15:clr>
            <a:srgbClr val="F26B43"/>
          </p15:clr>
        </p15:guide>
        <p15:guide id="9"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5" Type="http://schemas.openxmlformats.org/officeDocument/2006/relationships/image" Target="../media/image21.pn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29274" y="2569868"/>
            <a:ext cx="5966726" cy="859132"/>
          </a:xfrm>
        </p:spPr>
        <p:txBody>
          <a:bodyPr wrap="square" anchor="b">
            <a:normAutofit fontScale="90000"/>
          </a:bodyPr>
          <a:lstStyle/>
          <a:p>
            <a:r>
              <a:rPr lang="en-IN" sz="4800" b="1" dirty="0">
                <a:latin typeface="Century Gothic" panose="020B0502020202020204" pitchFamily="34" charset="0"/>
              </a:rPr>
              <a:t>2023 Summer Skill-UP</a:t>
            </a:r>
            <a:endParaRPr lang="en-US" sz="4800" dirty="0"/>
          </a:p>
        </p:txBody>
      </p:sp>
      <p:sp>
        <p:nvSpPr>
          <p:cNvPr id="2" name="TextBox 1">
            <a:extLst>
              <a:ext uri="{FF2B5EF4-FFF2-40B4-BE49-F238E27FC236}">
                <a16:creationId xmlns:a16="http://schemas.microsoft.com/office/drawing/2014/main" id="{296B2142-C906-42E1-8DC9-490783155221}"/>
              </a:ext>
            </a:extLst>
          </p:cNvPr>
          <p:cNvSpPr txBox="1"/>
          <p:nvPr/>
        </p:nvSpPr>
        <p:spPr bwMode="black">
          <a:xfrm>
            <a:off x="166122" y="4896474"/>
            <a:ext cx="5116143" cy="914400"/>
          </a:xfrm>
          <a:prstGeom prst="rect">
            <a:avLst/>
          </a:prstGeom>
        </p:spPr>
        <p:txBody>
          <a:bodyPr lIns="137160" tIns="91440" rIns="0" bIns="91440" rtlCol="0">
            <a:normAutofit/>
          </a:bodyPr>
          <a:lstStyle/>
          <a:p>
            <a:pPr>
              <a:lnSpc>
                <a:spcPct val="90000"/>
              </a:lnSpc>
              <a:spcBef>
                <a:spcPts val="1200"/>
              </a:spcBef>
            </a:pPr>
            <a:r>
              <a:rPr lang="en-IN" sz="2000" b="1" dirty="0">
                <a:solidFill>
                  <a:schemeClr val="bg1"/>
                </a:solidFill>
              </a:rPr>
              <a:t>Rayyan Baig</a:t>
            </a:r>
          </a:p>
          <a:p>
            <a:pPr>
              <a:lnSpc>
                <a:spcPct val="90000"/>
              </a:lnSpc>
              <a:spcBef>
                <a:spcPts val="1200"/>
              </a:spcBef>
            </a:pPr>
            <a:r>
              <a:rPr lang="en-US" sz="2000" dirty="0">
                <a:solidFill>
                  <a:schemeClr val="bg1"/>
                </a:solidFill>
              </a:rPr>
              <a:t>22</a:t>
            </a:r>
            <a:r>
              <a:rPr lang="en-US" sz="2000" baseline="30000" dirty="0">
                <a:solidFill>
                  <a:schemeClr val="bg1"/>
                </a:solidFill>
              </a:rPr>
              <a:t>th</a:t>
            </a:r>
            <a:r>
              <a:rPr lang="en-US" sz="2000" dirty="0">
                <a:solidFill>
                  <a:schemeClr val="bg1"/>
                </a:solidFill>
              </a:rPr>
              <a:t> August 2023</a:t>
            </a:r>
          </a:p>
        </p:txBody>
      </p:sp>
    </p:spTree>
    <p:extLst>
      <p:ext uri="{BB962C8B-B14F-4D97-AF65-F5344CB8AC3E}">
        <p14:creationId xmlns:p14="http://schemas.microsoft.com/office/powerpoint/2010/main" val="127577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5E4C71-DF25-9BE7-39E7-7DED99C3845C}"/>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Machine Learning Libraries</a:t>
            </a:r>
            <a:br>
              <a:rPr lang="en-IN" sz="4400" b="1" dirty="0"/>
            </a:br>
            <a:r>
              <a:rPr lang="en-IN" sz="1400" b="1" dirty="0"/>
              <a:t>Learning: Learned with help of My Father</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4A60CB34-5AC6-33A3-E109-4949F3E0C063}"/>
              </a:ext>
            </a:extLst>
          </p:cNvPr>
          <p:cNvSpPr txBox="1"/>
          <p:nvPr/>
        </p:nvSpPr>
        <p:spPr>
          <a:xfrm>
            <a:off x="579455" y="1659096"/>
            <a:ext cx="6307175" cy="2554545"/>
          </a:xfrm>
          <a:prstGeom prst="rect">
            <a:avLst/>
          </a:prstGeom>
          <a:noFill/>
          <a:ln>
            <a:noFill/>
          </a:ln>
        </p:spPr>
        <p:txBody>
          <a:bodyPr wrap="square" lIns="137160" tIns="91440" rIns="0" bIns="91440" rtlCol="0">
            <a:spAutoFit/>
          </a:bodyPr>
          <a:lstStyle/>
          <a:p>
            <a:pPr marL="342900" indent="-342900" algn="l">
              <a:lnSpc>
                <a:spcPct val="95000"/>
              </a:lnSpc>
              <a:spcBef>
                <a:spcPts val="1200"/>
              </a:spcBef>
              <a:buFont typeface="Courier New" panose="02070309020205020404" pitchFamily="49" charset="0"/>
              <a:buChar char="o"/>
            </a:pPr>
            <a:r>
              <a:rPr lang="en-US" sz="2400" dirty="0">
                <a:latin typeface="Calibri" panose="020F0502020204030204" pitchFamily="34" charset="0"/>
              </a:rPr>
              <a:t>Machine Learning Libraries:-</a:t>
            </a:r>
          </a:p>
          <a:p>
            <a:pPr marL="800100" lvl="1" indent="-342900">
              <a:lnSpc>
                <a:spcPct val="95000"/>
              </a:lnSpc>
              <a:spcBef>
                <a:spcPts val="1200"/>
              </a:spcBef>
              <a:buFont typeface="Arial" panose="020B0604020202020204" pitchFamily="34" charset="0"/>
              <a:buChar char="•"/>
            </a:pPr>
            <a:r>
              <a:rPr lang="en-US" sz="2400" dirty="0">
                <a:latin typeface="Calibri" panose="020F0502020204030204" pitchFamily="34" charset="0"/>
              </a:rPr>
              <a:t>NumPy</a:t>
            </a:r>
          </a:p>
          <a:p>
            <a:pPr marL="800100" lvl="1" indent="-342900">
              <a:lnSpc>
                <a:spcPct val="95000"/>
              </a:lnSpc>
              <a:spcBef>
                <a:spcPts val="1200"/>
              </a:spcBef>
              <a:buFont typeface="Arial" panose="020B0604020202020204" pitchFamily="34" charset="0"/>
              <a:buChar char="•"/>
            </a:pPr>
            <a:r>
              <a:rPr lang="en-US" sz="2400" dirty="0">
                <a:latin typeface="Calibri" panose="020F0502020204030204" pitchFamily="34" charset="0"/>
              </a:rPr>
              <a:t>Pandas</a:t>
            </a:r>
          </a:p>
          <a:p>
            <a:pPr marL="800100" lvl="1" indent="-342900">
              <a:lnSpc>
                <a:spcPct val="95000"/>
              </a:lnSpc>
              <a:spcBef>
                <a:spcPts val="1200"/>
              </a:spcBef>
              <a:buFont typeface="Arial" panose="020B0604020202020204" pitchFamily="34" charset="0"/>
              <a:buChar char="•"/>
            </a:pPr>
            <a:r>
              <a:rPr lang="en-US" sz="2400" dirty="0">
                <a:latin typeface="Calibri" panose="020F0502020204030204" pitchFamily="34" charset="0"/>
              </a:rPr>
              <a:t>Matplotlib</a:t>
            </a:r>
          </a:p>
          <a:p>
            <a:pPr marL="800100" lvl="1" indent="-342900">
              <a:lnSpc>
                <a:spcPct val="95000"/>
              </a:lnSpc>
              <a:spcBef>
                <a:spcPts val="1200"/>
              </a:spcBef>
              <a:buFont typeface="Arial" panose="020B0604020202020204" pitchFamily="34" charset="0"/>
              <a:buChar char="•"/>
            </a:pPr>
            <a:r>
              <a:rPr lang="en-US" sz="2400" dirty="0">
                <a:latin typeface="Calibri" panose="020F0502020204030204" pitchFamily="34" charset="0"/>
              </a:rPr>
              <a:t>SciPy</a:t>
            </a:r>
          </a:p>
        </p:txBody>
      </p:sp>
    </p:spTree>
    <p:extLst>
      <p:ext uri="{BB962C8B-B14F-4D97-AF65-F5344CB8AC3E}">
        <p14:creationId xmlns:p14="http://schemas.microsoft.com/office/powerpoint/2010/main" val="2082051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0F848D2-8F53-F522-BC50-2DEAE2F34F26}"/>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dirty="0"/>
              <a:t>ChatGPT for Software Engineers</a:t>
            </a:r>
            <a:br>
              <a:rPr lang="en-IN" sz="4800" dirty="0"/>
            </a:br>
            <a:r>
              <a:rPr lang="en-IN" sz="1400" b="1" dirty="0"/>
              <a:t>O’REILLY TRAINING: ChatGPT for Software engineers</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335D7CCE-1C34-783A-2D88-7F2570FD54F1}"/>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pic>
        <p:nvPicPr>
          <p:cNvPr id="5" name="Content Placeholder 4">
            <a:extLst>
              <a:ext uri="{FF2B5EF4-FFF2-40B4-BE49-F238E27FC236}">
                <a16:creationId xmlns:a16="http://schemas.microsoft.com/office/drawing/2014/main" id="{6D786DC8-FAB9-888E-C1EE-9C95F0015EEF}"/>
              </a:ext>
            </a:extLst>
          </p:cNvPr>
          <p:cNvPicPr>
            <a:picLocks noChangeAspect="1"/>
          </p:cNvPicPr>
          <p:nvPr/>
        </p:nvPicPr>
        <p:blipFill>
          <a:blip r:embed="rId3"/>
          <a:stretch>
            <a:fillRect/>
          </a:stretch>
        </p:blipFill>
        <p:spPr>
          <a:xfrm>
            <a:off x="472704" y="1814755"/>
            <a:ext cx="5120446" cy="2117477"/>
          </a:xfrm>
          <a:prstGeom prst="rect">
            <a:avLst/>
          </a:prstGeom>
        </p:spPr>
      </p:pic>
      <p:pic>
        <p:nvPicPr>
          <p:cNvPr id="6" name="Content Placeholder 4">
            <a:extLst>
              <a:ext uri="{FF2B5EF4-FFF2-40B4-BE49-F238E27FC236}">
                <a16:creationId xmlns:a16="http://schemas.microsoft.com/office/drawing/2014/main" id="{F5C27ED7-628A-67E2-6220-DE9BD866FE48}"/>
              </a:ext>
            </a:extLst>
          </p:cNvPr>
          <p:cNvPicPr>
            <a:picLocks noChangeAspect="1"/>
          </p:cNvPicPr>
          <p:nvPr/>
        </p:nvPicPr>
        <p:blipFill>
          <a:blip r:embed="rId4"/>
          <a:stretch>
            <a:fillRect/>
          </a:stretch>
        </p:blipFill>
        <p:spPr>
          <a:xfrm>
            <a:off x="5699901" y="4103380"/>
            <a:ext cx="6234719" cy="2380085"/>
          </a:xfrm>
          <a:prstGeom prst="rect">
            <a:avLst/>
          </a:prstGeom>
        </p:spPr>
      </p:pic>
      <p:sp>
        <p:nvSpPr>
          <p:cNvPr id="8" name="TextBox 7">
            <a:extLst>
              <a:ext uri="{FF2B5EF4-FFF2-40B4-BE49-F238E27FC236}">
                <a16:creationId xmlns:a16="http://schemas.microsoft.com/office/drawing/2014/main" id="{0E3BE416-0B0E-AD1E-BCB1-D2ED6C5CD76D}"/>
              </a:ext>
            </a:extLst>
          </p:cNvPr>
          <p:cNvSpPr txBox="1"/>
          <p:nvPr/>
        </p:nvSpPr>
        <p:spPr>
          <a:xfrm>
            <a:off x="472704" y="1363895"/>
            <a:ext cx="4906945" cy="418576"/>
          </a:xfrm>
          <a:prstGeom prst="rect">
            <a:avLst/>
          </a:prstGeom>
          <a:noFill/>
          <a:ln>
            <a:noFill/>
          </a:ln>
        </p:spPr>
        <p:txBody>
          <a:bodyPr wrap="square" lIns="137160" tIns="91440" rIns="0" bIns="91440" rtlCol="0">
            <a:spAutoFit/>
          </a:bodyPr>
          <a:lstStyle/>
          <a:p>
            <a:pPr marL="285750" indent="-285750" algn="l">
              <a:lnSpc>
                <a:spcPct val="95000"/>
              </a:lnSpc>
              <a:spcBef>
                <a:spcPts val="1200"/>
              </a:spcBef>
              <a:buFont typeface="Arial" panose="020B0604020202020204" pitchFamily="34" charset="0"/>
              <a:buChar char="•"/>
            </a:pPr>
            <a:r>
              <a:rPr lang="en-IN" sz="1600" dirty="0">
                <a:solidFill>
                  <a:schemeClr val="tx1"/>
                </a:solidFill>
              </a:rPr>
              <a:t>Question asked to ChatGPT</a:t>
            </a:r>
          </a:p>
        </p:txBody>
      </p:sp>
      <p:sp>
        <p:nvSpPr>
          <p:cNvPr id="9" name="TextBox 8">
            <a:extLst>
              <a:ext uri="{FF2B5EF4-FFF2-40B4-BE49-F238E27FC236}">
                <a16:creationId xmlns:a16="http://schemas.microsoft.com/office/drawing/2014/main" id="{13F76596-DDA1-5108-6522-E574141799E4}"/>
              </a:ext>
            </a:extLst>
          </p:cNvPr>
          <p:cNvSpPr txBox="1"/>
          <p:nvPr/>
        </p:nvSpPr>
        <p:spPr>
          <a:xfrm>
            <a:off x="5699901" y="3684804"/>
            <a:ext cx="5483078" cy="418576"/>
          </a:xfrm>
          <a:prstGeom prst="rect">
            <a:avLst/>
          </a:prstGeom>
          <a:noFill/>
          <a:ln>
            <a:noFill/>
          </a:ln>
        </p:spPr>
        <p:txBody>
          <a:bodyPr wrap="square" lIns="137160" tIns="91440" rIns="0" bIns="91440" rtlCol="0">
            <a:spAutoFit/>
          </a:bodyPr>
          <a:lstStyle/>
          <a:p>
            <a:pPr marL="285750" indent="-285750" algn="l">
              <a:lnSpc>
                <a:spcPct val="95000"/>
              </a:lnSpc>
              <a:spcBef>
                <a:spcPts val="1200"/>
              </a:spcBef>
              <a:buFont typeface="Arial" panose="020B0604020202020204" pitchFamily="34" charset="0"/>
              <a:buChar char="•"/>
            </a:pPr>
            <a:r>
              <a:rPr lang="en-IN" sz="1600" dirty="0">
                <a:solidFill>
                  <a:schemeClr val="tx1"/>
                </a:solidFill>
              </a:rPr>
              <a:t>How ChatGPT responded</a:t>
            </a:r>
          </a:p>
        </p:txBody>
      </p:sp>
    </p:spTree>
    <p:extLst>
      <p:ext uri="{BB962C8B-B14F-4D97-AF65-F5344CB8AC3E}">
        <p14:creationId xmlns:p14="http://schemas.microsoft.com/office/powerpoint/2010/main" val="103449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96707A4-067E-04A0-DA1B-4F1AAE0AF5CB}"/>
              </a:ext>
            </a:extLst>
          </p:cNvPr>
          <p:cNvPicPr>
            <a:picLocks noChangeAspect="1"/>
          </p:cNvPicPr>
          <p:nvPr/>
        </p:nvPicPr>
        <p:blipFill>
          <a:blip r:embed="rId3"/>
          <a:stretch>
            <a:fillRect/>
          </a:stretch>
        </p:blipFill>
        <p:spPr>
          <a:xfrm>
            <a:off x="6096000" y="2106566"/>
            <a:ext cx="5673011" cy="3982018"/>
          </a:xfrm>
          <a:prstGeom prst="rect">
            <a:avLst/>
          </a:prstGeom>
        </p:spPr>
      </p:pic>
      <p:pic>
        <p:nvPicPr>
          <p:cNvPr id="9" name="Picture 8">
            <a:extLst>
              <a:ext uri="{FF2B5EF4-FFF2-40B4-BE49-F238E27FC236}">
                <a16:creationId xmlns:a16="http://schemas.microsoft.com/office/drawing/2014/main" id="{11B4CC53-3C48-128E-916B-C218D62BD243}"/>
              </a:ext>
            </a:extLst>
          </p:cNvPr>
          <p:cNvPicPr>
            <a:picLocks noChangeAspect="1"/>
          </p:cNvPicPr>
          <p:nvPr/>
        </p:nvPicPr>
        <p:blipFill>
          <a:blip r:embed="rId4"/>
          <a:stretch>
            <a:fillRect/>
          </a:stretch>
        </p:blipFill>
        <p:spPr>
          <a:xfrm>
            <a:off x="727647" y="663191"/>
            <a:ext cx="4866076" cy="1815164"/>
          </a:xfrm>
          <a:prstGeom prst="rect">
            <a:avLst/>
          </a:prstGeom>
        </p:spPr>
      </p:pic>
      <p:sp>
        <p:nvSpPr>
          <p:cNvPr id="13" name="TextBox 12">
            <a:extLst>
              <a:ext uri="{FF2B5EF4-FFF2-40B4-BE49-F238E27FC236}">
                <a16:creationId xmlns:a16="http://schemas.microsoft.com/office/drawing/2014/main" id="{7B6E0150-56E8-D6B2-6284-E557320D5DF2}"/>
              </a:ext>
            </a:extLst>
          </p:cNvPr>
          <p:cNvSpPr txBox="1"/>
          <p:nvPr/>
        </p:nvSpPr>
        <p:spPr>
          <a:xfrm>
            <a:off x="422989" y="2943413"/>
            <a:ext cx="5475393" cy="2308324"/>
          </a:xfrm>
          <a:prstGeom prst="rect">
            <a:avLst/>
          </a:prstGeom>
          <a:noFill/>
          <a:ln>
            <a:noFill/>
          </a:ln>
        </p:spPr>
        <p:txBody>
          <a:bodyPr wrap="square">
            <a:spAutoFit/>
          </a:bodyPr>
          <a:lstStyle/>
          <a:p>
            <a:r>
              <a:rPr lang="en-IN" sz="2400" b="1" dirty="0"/>
              <a:t>Problems:-</a:t>
            </a:r>
          </a:p>
          <a:p>
            <a:pPr marL="800100" lvl="1" indent="-342900">
              <a:buFont typeface="Arial" panose="020B0604020202020204" pitchFamily="34" charset="0"/>
              <a:buChar char="•"/>
            </a:pPr>
            <a:r>
              <a:rPr lang="en-IN" sz="2400" dirty="0"/>
              <a:t>Prompt should be descriptive so that the ChatGPT understands and follows the command</a:t>
            </a:r>
          </a:p>
          <a:p>
            <a:pPr marL="742950" lvl="1" indent="-285750">
              <a:buFont typeface="Arial" panose="020B0604020202020204" pitchFamily="34" charset="0"/>
              <a:buChar char="•"/>
            </a:pPr>
            <a:r>
              <a:rPr lang="en-IN" sz="2400" dirty="0"/>
              <a:t>Entering long prompts is always not possible/not time effective</a:t>
            </a:r>
          </a:p>
        </p:txBody>
      </p:sp>
      <p:sp>
        <p:nvSpPr>
          <p:cNvPr id="14" name="TextBox 13">
            <a:extLst>
              <a:ext uri="{FF2B5EF4-FFF2-40B4-BE49-F238E27FC236}">
                <a16:creationId xmlns:a16="http://schemas.microsoft.com/office/drawing/2014/main" id="{45008D07-4A7D-4558-2D9E-973E60C2F3E9}"/>
              </a:ext>
            </a:extLst>
          </p:cNvPr>
          <p:cNvSpPr txBox="1"/>
          <p:nvPr/>
        </p:nvSpPr>
        <p:spPr>
          <a:xfrm>
            <a:off x="727647" y="244615"/>
            <a:ext cx="5044272" cy="418576"/>
          </a:xfrm>
          <a:prstGeom prst="rect">
            <a:avLst/>
          </a:prstGeom>
          <a:noFill/>
          <a:ln>
            <a:noFill/>
          </a:ln>
        </p:spPr>
        <p:txBody>
          <a:bodyPr wrap="square" lIns="137160" tIns="91440" rIns="0" bIns="91440" rtlCol="0">
            <a:spAutoFit/>
          </a:bodyPr>
          <a:lstStyle/>
          <a:p>
            <a:pPr marL="285750" indent="-285750" algn="l">
              <a:lnSpc>
                <a:spcPct val="95000"/>
              </a:lnSpc>
              <a:spcBef>
                <a:spcPts val="1200"/>
              </a:spcBef>
              <a:buFont typeface="Arial" panose="020B0604020202020204" pitchFamily="34" charset="0"/>
              <a:buChar char="•"/>
            </a:pPr>
            <a:r>
              <a:rPr lang="en-IN" sz="1600" dirty="0"/>
              <a:t>Giving ChatGPT a Case Study </a:t>
            </a:r>
            <a:endParaRPr lang="en-IN" sz="1600" dirty="0">
              <a:solidFill>
                <a:schemeClr val="tx1"/>
              </a:solidFill>
            </a:endParaRPr>
          </a:p>
        </p:txBody>
      </p:sp>
      <p:sp>
        <p:nvSpPr>
          <p:cNvPr id="15" name="TextBox 14">
            <a:extLst>
              <a:ext uri="{FF2B5EF4-FFF2-40B4-BE49-F238E27FC236}">
                <a16:creationId xmlns:a16="http://schemas.microsoft.com/office/drawing/2014/main" id="{6D853B9B-0442-5ED8-DE53-71B73FD6ED32}"/>
              </a:ext>
            </a:extLst>
          </p:cNvPr>
          <p:cNvSpPr txBox="1"/>
          <p:nvPr/>
        </p:nvSpPr>
        <p:spPr>
          <a:xfrm>
            <a:off x="6096000" y="1687990"/>
            <a:ext cx="5368353" cy="418576"/>
          </a:xfrm>
          <a:prstGeom prst="rect">
            <a:avLst/>
          </a:prstGeom>
          <a:noFill/>
          <a:ln>
            <a:noFill/>
          </a:ln>
        </p:spPr>
        <p:txBody>
          <a:bodyPr wrap="square" lIns="137160" tIns="91440" rIns="0" bIns="91440" rtlCol="0">
            <a:spAutoFit/>
          </a:bodyPr>
          <a:lstStyle/>
          <a:p>
            <a:pPr marL="285750" indent="-285750" algn="l">
              <a:lnSpc>
                <a:spcPct val="95000"/>
              </a:lnSpc>
              <a:spcBef>
                <a:spcPts val="1200"/>
              </a:spcBef>
              <a:buFont typeface="Arial" panose="020B0604020202020204" pitchFamily="34" charset="0"/>
              <a:buChar char="•"/>
            </a:pPr>
            <a:r>
              <a:rPr lang="en-IN" sz="1600" dirty="0">
                <a:solidFill>
                  <a:schemeClr val="tx1"/>
                </a:solidFill>
              </a:rPr>
              <a:t>ChatGPT’s response to the Case Study</a:t>
            </a:r>
          </a:p>
        </p:txBody>
      </p:sp>
    </p:spTree>
    <p:extLst>
      <p:ext uri="{BB962C8B-B14F-4D97-AF65-F5344CB8AC3E}">
        <p14:creationId xmlns:p14="http://schemas.microsoft.com/office/powerpoint/2010/main" val="296152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24F790B-213E-35A4-0305-131B13AE7A12}"/>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Microsoft Excel</a:t>
            </a:r>
            <a:br>
              <a:rPr lang="en-IN" sz="4400" b="1" dirty="0"/>
            </a:br>
            <a:r>
              <a:rPr lang="en-IN" sz="1400" b="1" dirty="0"/>
              <a:t>O’REILLY TRAINING: Mastering Microsoft Excel, </a:t>
            </a:r>
            <a:r>
              <a:rPr lang="en-US" sz="1400" b="1" dirty="0"/>
              <a:t>Skill Nation Excel Course</a:t>
            </a:r>
            <a:endParaRPr lang="en-IN" sz="1400" b="1" dirty="0"/>
          </a:p>
        </p:txBody>
      </p:sp>
      <p:sp>
        <p:nvSpPr>
          <p:cNvPr id="3" name="TextBox 2">
            <a:extLst>
              <a:ext uri="{FF2B5EF4-FFF2-40B4-BE49-F238E27FC236}">
                <a16:creationId xmlns:a16="http://schemas.microsoft.com/office/drawing/2014/main" id="{74A5660F-4418-E8F9-E16F-A933CB4C1DE3}"/>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8EFF25D3-1D36-7EDF-4577-F281528BDFC4}"/>
              </a:ext>
            </a:extLst>
          </p:cNvPr>
          <p:cNvSpPr txBox="1"/>
          <p:nvPr/>
        </p:nvSpPr>
        <p:spPr>
          <a:xfrm>
            <a:off x="579455" y="1870111"/>
            <a:ext cx="6647091" cy="1938992"/>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Excel Formulas(SUM,AVG,SUMIF….etc)</a:t>
            </a:r>
          </a:p>
          <a:p>
            <a:pPr marL="342900" indent="-342900">
              <a:buFont typeface="Arial" panose="020B0604020202020204" pitchFamily="34" charset="0"/>
              <a:buChar char="•"/>
            </a:pPr>
            <a:r>
              <a:rPr lang="en-IN" sz="2400" dirty="0"/>
              <a:t>Handling Excel Data(Charts,Graphs,…etc)</a:t>
            </a:r>
          </a:p>
          <a:p>
            <a:pPr marL="342900" indent="-342900">
              <a:buFont typeface="Arial" panose="020B0604020202020204" pitchFamily="34" charset="0"/>
              <a:buChar char="•"/>
            </a:pPr>
            <a:r>
              <a:rPr lang="en-IN" sz="2400" dirty="0"/>
              <a:t>Excel Pivot Tables</a:t>
            </a:r>
          </a:p>
          <a:p>
            <a:pPr marL="342900" indent="-342900">
              <a:buFont typeface="Arial" panose="020B0604020202020204" pitchFamily="34" charset="0"/>
              <a:buChar char="•"/>
            </a:pPr>
            <a:r>
              <a:rPr lang="en-IN" sz="2400" dirty="0"/>
              <a:t>Excel Short cuts(chart formatting, Adding points…..etc)</a:t>
            </a:r>
          </a:p>
        </p:txBody>
      </p:sp>
    </p:spTree>
    <p:extLst>
      <p:ext uri="{BB962C8B-B14F-4D97-AF65-F5344CB8AC3E}">
        <p14:creationId xmlns:p14="http://schemas.microsoft.com/office/powerpoint/2010/main" val="223059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4451297-5DC7-9565-C457-112CF68BD796}"/>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Clean Code</a:t>
            </a:r>
            <a:br>
              <a:rPr lang="en-IN" sz="3200" b="1" dirty="0"/>
            </a:br>
            <a:r>
              <a:rPr lang="en-IN" sz="1400" b="1" dirty="0"/>
              <a:t>O’REILLY TRAINING: Clean Code</a:t>
            </a:r>
            <a:endParaRPr lang="en-US" sz="1400" dirty="0">
              <a:solidFill>
                <a:schemeClr val="accent2">
                  <a:lumMod val="75000"/>
                </a:schemeClr>
              </a:solidFill>
            </a:endParaRPr>
          </a:p>
        </p:txBody>
      </p:sp>
      <p:sp>
        <p:nvSpPr>
          <p:cNvPr id="4" name="TextBox 3">
            <a:extLst>
              <a:ext uri="{FF2B5EF4-FFF2-40B4-BE49-F238E27FC236}">
                <a16:creationId xmlns:a16="http://schemas.microsoft.com/office/drawing/2014/main" id="{2444BD71-F45B-054A-A0B8-2D750F427E6A}"/>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5" name="TextBox 4">
            <a:extLst>
              <a:ext uri="{FF2B5EF4-FFF2-40B4-BE49-F238E27FC236}">
                <a16:creationId xmlns:a16="http://schemas.microsoft.com/office/drawing/2014/main" id="{C9EF747F-6C58-613A-9244-49ECB06E6AAE}"/>
              </a:ext>
            </a:extLst>
          </p:cNvPr>
          <p:cNvSpPr txBox="1"/>
          <p:nvPr/>
        </p:nvSpPr>
        <p:spPr>
          <a:xfrm>
            <a:off x="458874" y="1609972"/>
            <a:ext cx="5037574" cy="341632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Functions</a:t>
            </a:r>
          </a:p>
          <a:p>
            <a:pPr marL="800100" lvl="1" indent="-342900">
              <a:buFont typeface="Arial" panose="020B0604020202020204" pitchFamily="34" charset="0"/>
              <a:buChar char="•"/>
            </a:pPr>
            <a:r>
              <a:rPr lang="en-IN" sz="2400" dirty="0"/>
              <a:t>Write code in functions</a:t>
            </a:r>
          </a:p>
          <a:p>
            <a:pPr marL="342900" indent="-342900">
              <a:buFont typeface="Arial" panose="020B0604020202020204" pitchFamily="34" charset="0"/>
              <a:buChar char="•"/>
            </a:pPr>
            <a:r>
              <a:rPr lang="en-IN" sz="2400" dirty="0"/>
              <a:t>Full Names</a:t>
            </a:r>
          </a:p>
          <a:p>
            <a:pPr marL="800100" lvl="1" indent="-342900">
              <a:buFont typeface="Arial" panose="020B0604020202020204" pitchFamily="34" charset="0"/>
              <a:buChar char="•"/>
            </a:pPr>
            <a:r>
              <a:rPr lang="en-IN" sz="2400" dirty="0"/>
              <a:t>Using full names for variables</a:t>
            </a:r>
          </a:p>
          <a:p>
            <a:pPr marL="342900" indent="-342900">
              <a:buFont typeface="Arial" panose="020B0604020202020204" pitchFamily="34" charset="0"/>
              <a:buChar char="•"/>
            </a:pPr>
            <a:r>
              <a:rPr lang="en-IN" sz="2400" dirty="0"/>
              <a:t>Short/Effective code</a:t>
            </a:r>
          </a:p>
          <a:p>
            <a:pPr marL="800100" lvl="1" indent="-342900">
              <a:buFont typeface="Arial" panose="020B0604020202020204" pitchFamily="34" charset="0"/>
              <a:buChar char="•"/>
            </a:pPr>
            <a:r>
              <a:rPr lang="en-IN" sz="2400" dirty="0"/>
              <a:t>Using proper logic</a:t>
            </a:r>
          </a:p>
          <a:p>
            <a:pPr marL="342900" indent="-342900">
              <a:buFont typeface="Arial" panose="020B0604020202020204" pitchFamily="34" charset="0"/>
              <a:buChar char="•"/>
            </a:pPr>
            <a:r>
              <a:rPr lang="en-IN" sz="2400" dirty="0"/>
              <a:t>Readable code</a:t>
            </a:r>
          </a:p>
          <a:p>
            <a:pPr marL="800100" lvl="1" indent="-342900">
              <a:buFont typeface="Arial" panose="020B0604020202020204" pitchFamily="34" charset="0"/>
              <a:buChar char="•"/>
            </a:pPr>
            <a:r>
              <a:rPr lang="en-US" sz="2400" i="0" dirty="0">
                <a:effectLst/>
                <a:latin typeface="+mj-lt"/>
              </a:rPr>
              <a:t>Using descriptive variable, function, and class names.</a:t>
            </a:r>
            <a:endParaRPr lang="en-IN" sz="2400" dirty="0">
              <a:latin typeface="+mj-lt"/>
            </a:endParaRPr>
          </a:p>
        </p:txBody>
      </p:sp>
      <p:pic>
        <p:nvPicPr>
          <p:cNvPr id="6" name="Picture 5">
            <a:extLst>
              <a:ext uri="{FF2B5EF4-FFF2-40B4-BE49-F238E27FC236}">
                <a16:creationId xmlns:a16="http://schemas.microsoft.com/office/drawing/2014/main" id="{B9A58011-6B74-5264-2068-E9506E440DE6}"/>
              </a:ext>
            </a:extLst>
          </p:cNvPr>
          <p:cNvPicPr>
            <a:picLocks noChangeAspect="1"/>
          </p:cNvPicPr>
          <p:nvPr/>
        </p:nvPicPr>
        <p:blipFill>
          <a:blip r:embed="rId3"/>
          <a:stretch>
            <a:fillRect/>
          </a:stretch>
        </p:blipFill>
        <p:spPr>
          <a:xfrm>
            <a:off x="5496448" y="1696937"/>
            <a:ext cx="6578612" cy="3884831"/>
          </a:xfrm>
          <a:prstGeom prst="rect">
            <a:avLst/>
          </a:prstGeom>
        </p:spPr>
      </p:pic>
    </p:spTree>
    <p:extLst>
      <p:ext uri="{BB962C8B-B14F-4D97-AF65-F5344CB8AC3E}">
        <p14:creationId xmlns:p14="http://schemas.microsoft.com/office/powerpoint/2010/main" val="38271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346897-F8C5-30AA-A9DB-C4712166F9D7}"/>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GitHub</a:t>
            </a:r>
            <a:br>
              <a:rPr lang="en-IN" sz="3200" b="1" dirty="0"/>
            </a:br>
            <a:r>
              <a:rPr lang="en-IN" sz="1400" b="1" dirty="0"/>
              <a:t>O’REILLY TRAINING: GitHub in 4 hours</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ADB9FE5A-8B17-BA7A-2B05-5FFB292E4D39}"/>
              </a:ext>
            </a:extLst>
          </p:cNvPr>
          <p:cNvSpPr txBox="1"/>
          <p:nvPr/>
        </p:nvSpPr>
        <p:spPr>
          <a:xfrm>
            <a:off x="4767837" y="1870111"/>
            <a:ext cx="6307175" cy="923330"/>
          </a:xfrm>
          <a:prstGeom prst="rect">
            <a:avLst/>
          </a:prstGeom>
          <a:noFill/>
          <a:ln>
            <a:noFill/>
          </a:ln>
        </p:spPr>
        <p:txBody>
          <a:bodyPr wrap="square" lIns="137160" tIns="91440" rIns="0" bIns="91440" rtlCol="0">
            <a:spAutoFit/>
          </a:bodyPr>
          <a:lstStyle/>
          <a:p>
            <a:pPr algn="l">
              <a:lnSpc>
                <a:spcPct val="95000"/>
              </a:lnSpc>
              <a:spcBef>
                <a:spcPts val="1200"/>
              </a:spcBef>
            </a:pPr>
            <a:r>
              <a:rPr lang="en-US" sz="2000" b="1" dirty="0"/>
              <a:t>Process to use </a:t>
            </a:r>
            <a:r>
              <a:rPr lang="en-US" sz="2000" b="1" dirty="0" err="1"/>
              <a:t>github</a:t>
            </a:r>
            <a:r>
              <a:rPr lang="en-US" sz="2000" b="1" dirty="0"/>
              <a:t>:</a:t>
            </a:r>
          </a:p>
          <a:p>
            <a:pPr algn="l">
              <a:lnSpc>
                <a:spcPct val="95000"/>
              </a:lnSpc>
              <a:spcBef>
                <a:spcPts val="1200"/>
              </a:spcBef>
            </a:pPr>
            <a:endParaRPr lang="en-US" sz="2000" dirty="0">
              <a:latin typeface="Calibri" panose="020F0502020204030204" pitchFamily="34" charset="0"/>
            </a:endParaRPr>
          </a:p>
        </p:txBody>
      </p:sp>
      <p:sp>
        <p:nvSpPr>
          <p:cNvPr id="5" name="TextBox 4">
            <a:extLst>
              <a:ext uri="{FF2B5EF4-FFF2-40B4-BE49-F238E27FC236}">
                <a16:creationId xmlns:a16="http://schemas.microsoft.com/office/drawing/2014/main" id="{71853B3F-403C-6E8E-BF56-497F448D59B8}"/>
              </a:ext>
            </a:extLst>
          </p:cNvPr>
          <p:cNvSpPr txBox="1"/>
          <p:nvPr/>
        </p:nvSpPr>
        <p:spPr>
          <a:xfrm>
            <a:off x="649793" y="1870111"/>
            <a:ext cx="6647091" cy="156966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Git Init</a:t>
            </a:r>
          </a:p>
          <a:p>
            <a:pPr marL="342900" indent="-342900">
              <a:buFont typeface="Arial" panose="020B0604020202020204" pitchFamily="34" charset="0"/>
              <a:buChar char="•"/>
            </a:pPr>
            <a:r>
              <a:rPr lang="en-IN" sz="2400" dirty="0"/>
              <a:t>Git Status</a:t>
            </a:r>
          </a:p>
          <a:p>
            <a:pPr marL="342900" indent="-342900">
              <a:buFont typeface="Arial" panose="020B0604020202020204" pitchFamily="34" charset="0"/>
              <a:buChar char="•"/>
            </a:pPr>
            <a:r>
              <a:rPr lang="en-IN" sz="2400" dirty="0"/>
              <a:t>Git add</a:t>
            </a:r>
          </a:p>
          <a:p>
            <a:pPr marL="342900" indent="-342900">
              <a:buFont typeface="Arial" panose="020B0604020202020204" pitchFamily="34" charset="0"/>
              <a:buChar char="•"/>
            </a:pPr>
            <a:r>
              <a:rPr lang="en-IN" sz="2400" dirty="0"/>
              <a:t>Git Push</a:t>
            </a:r>
          </a:p>
        </p:txBody>
      </p:sp>
      <p:pic>
        <p:nvPicPr>
          <p:cNvPr id="11" name="Picture 10">
            <a:extLst>
              <a:ext uri="{FF2B5EF4-FFF2-40B4-BE49-F238E27FC236}">
                <a16:creationId xmlns:a16="http://schemas.microsoft.com/office/drawing/2014/main" id="{3CF96F9D-EC40-99D7-39FB-C4A9DB2DB39D}"/>
              </a:ext>
            </a:extLst>
          </p:cNvPr>
          <p:cNvPicPr>
            <a:picLocks noChangeAspect="1"/>
          </p:cNvPicPr>
          <p:nvPr/>
        </p:nvPicPr>
        <p:blipFill>
          <a:blip r:embed="rId3"/>
          <a:stretch>
            <a:fillRect/>
          </a:stretch>
        </p:blipFill>
        <p:spPr>
          <a:xfrm>
            <a:off x="7921424" y="1561173"/>
            <a:ext cx="1455546" cy="5006774"/>
          </a:xfrm>
          <a:prstGeom prst="rect">
            <a:avLst/>
          </a:prstGeom>
        </p:spPr>
      </p:pic>
      <p:cxnSp>
        <p:nvCxnSpPr>
          <p:cNvPr id="14" name="Straight Connector 13">
            <a:extLst>
              <a:ext uri="{FF2B5EF4-FFF2-40B4-BE49-F238E27FC236}">
                <a16:creationId xmlns:a16="http://schemas.microsoft.com/office/drawing/2014/main" id="{5871C91A-B4C3-C3B2-F6C3-DB54080B535D}"/>
              </a:ext>
            </a:extLst>
          </p:cNvPr>
          <p:cNvCxnSpPr/>
          <p:nvPr/>
        </p:nvCxnSpPr>
        <p:spPr>
          <a:xfrm>
            <a:off x="4491613" y="1561173"/>
            <a:ext cx="0" cy="5006774"/>
          </a:xfrm>
          <a:prstGeom prst="line">
            <a:avLst/>
          </a:prstGeom>
          <a:ln w="28575" cap="rnd">
            <a:solidFill>
              <a:schemeClr val="tx1"/>
            </a:solidFill>
            <a:round/>
            <a:headEnd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225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31C7330-A8E4-0239-7BB1-02B530176D71}"/>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Regular Expressions</a:t>
            </a:r>
            <a:br>
              <a:rPr lang="en-IN" sz="4800" b="1" dirty="0"/>
            </a:br>
            <a:r>
              <a:rPr lang="en-IN" sz="1400" b="1" dirty="0"/>
              <a:t>O’REILLY TRAINING: Regular Expressions Boot Camp</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56B11EC9-71C8-1C0C-0127-62E4B53761E4}"/>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FE6E1E70-0059-BEB9-CA72-7CCDEBDBDC25}"/>
              </a:ext>
            </a:extLst>
          </p:cNvPr>
          <p:cNvSpPr txBox="1"/>
          <p:nvPr/>
        </p:nvSpPr>
        <p:spPr>
          <a:xfrm>
            <a:off x="579455" y="1871229"/>
            <a:ext cx="6647091" cy="341632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Uses of grep / egrep in text processing (Linux operating systems)</a:t>
            </a:r>
          </a:p>
          <a:p>
            <a:pPr marL="342900" indent="-342900">
              <a:buFont typeface="Arial" panose="020B0604020202020204" pitchFamily="34" charset="0"/>
              <a:buChar char="•"/>
            </a:pPr>
            <a:r>
              <a:rPr lang="en-IN" sz="2400" dirty="0"/>
              <a:t>Uses of grep –p / egrep –p in text processing</a:t>
            </a:r>
          </a:p>
          <a:p>
            <a:pPr marL="342900" indent="-342900">
              <a:buFont typeface="Arial" panose="020B0604020202020204" pitchFamily="34" charset="0"/>
              <a:buChar char="•"/>
            </a:pPr>
            <a:r>
              <a:rPr lang="en-IN" sz="2400" dirty="0"/>
              <a:t>Regular expressions in Python</a:t>
            </a:r>
          </a:p>
          <a:p>
            <a:pPr marL="800100" lvl="1" indent="-342900">
              <a:buFont typeface="Arial" panose="020B0604020202020204" pitchFamily="34" charset="0"/>
              <a:buChar char="•"/>
            </a:pPr>
            <a:r>
              <a:rPr lang="en-IN" sz="2400" dirty="0"/>
              <a:t>import re</a:t>
            </a:r>
          </a:p>
          <a:p>
            <a:pPr marL="800100" lvl="1" indent="-342900">
              <a:buFont typeface="Arial" panose="020B0604020202020204" pitchFamily="34" charset="0"/>
              <a:buChar char="•"/>
            </a:pPr>
            <a:r>
              <a:rPr lang="en-IN" sz="2400" dirty="0" err="1"/>
              <a:t>re.search</a:t>
            </a:r>
            <a:r>
              <a:rPr lang="en-IN" sz="2400" dirty="0"/>
              <a:t>()  #searches the text/string and print it’s occurrence.</a:t>
            </a:r>
          </a:p>
          <a:p>
            <a:pPr marL="800100" lvl="1" indent="-342900">
              <a:buFont typeface="Arial" panose="020B0604020202020204" pitchFamily="34" charset="0"/>
              <a:buChar char="•"/>
            </a:pPr>
            <a:r>
              <a:rPr lang="en-IN" sz="2400" dirty="0"/>
              <a:t>re.match()  #finds the text/string and print number of occurrence.</a:t>
            </a:r>
          </a:p>
        </p:txBody>
      </p:sp>
    </p:spTree>
    <p:extLst>
      <p:ext uri="{BB962C8B-B14F-4D97-AF65-F5344CB8AC3E}">
        <p14:creationId xmlns:p14="http://schemas.microsoft.com/office/powerpoint/2010/main" val="43351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1A6581-0E00-4B64-6291-04FDB19DD47C}"/>
              </a:ext>
            </a:extLst>
          </p:cNvPr>
          <p:cNvSpPr txBox="1"/>
          <p:nvPr/>
        </p:nvSpPr>
        <p:spPr>
          <a:xfrm>
            <a:off x="579455" y="399001"/>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dirty="0"/>
              <a:t>Better PowerPoint Presentation</a:t>
            </a:r>
            <a:br>
              <a:rPr lang="en-IN" sz="4400" b="1" dirty="0"/>
            </a:br>
            <a:r>
              <a:rPr lang="en-IN" sz="1400" b="1" dirty="0"/>
              <a:t>O’REILLY TRAINING: Better PowerPoint Presentation training</a:t>
            </a:r>
            <a:endParaRPr lang="en-US" sz="1400" b="1" dirty="0">
              <a:solidFill>
                <a:schemeClr val="accent2">
                  <a:lumMod val="75000"/>
                </a:schemeClr>
              </a:solidFill>
            </a:endParaRPr>
          </a:p>
        </p:txBody>
      </p:sp>
      <p:sp>
        <p:nvSpPr>
          <p:cNvPr id="7" name="TextBox 6">
            <a:extLst>
              <a:ext uri="{FF2B5EF4-FFF2-40B4-BE49-F238E27FC236}">
                <a16:creationId xmlns:a16="http://schemas.microsoft.com/office/drawing/2014/main" id="{8E188A7A-BB87-D3C4-A9C6-19A8226A848A}"/>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8" name="TextBox 7">
            <a:extLst>
              <a:ext uri="{FF2B5EF4-FFF2-40B4-BE49-F238E27FC236}">
                <a16:creationId xmlns:a16="http://schemas.microsoft.com/office/drawing/2014/main" id="{97507679-B387-22F1-1856-91792BFFAF54}"/>
              </a:ext>
            </a:extLst>
          </p:cNvPr>
          <p:cNvSpPr txBox="1"/>
          <p:nvPr/>
        </p:nvSpPr>
        <p:spPr>
          <a:xfrm>
            <a:off x="579454" y="1728460"/>
            <a:ext cx="6647091" cy="2646878"/>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The presentation is part of this training</a:t>
            </a:r>
          </a:p>
          <a:p>
            <a:pPr marL="342900" indent="-342900">
              <a:buFont typeface="Arial" panose="020B0604020202020204" pitchFamily="34" charset="0"/>
              <a:buChar char="•"/>
            </a:pPr>
            <a:r>
              <a:rPr lang="en-IN" sz="2400" dirty="0"/>
              <a:t>How slides are properly arranged</a:t>
            </a:r>
          </a:p>
          <a:p>
            <a:pPr marL="800100" lvl="1" indent="-342900">
              <a:buFont typeface="Arial" panose="020B0604020202020204" pitchFamily="34" charset="0"/>
              <a:buChar char="•"/>
            </a:pPr>
            <a:r>
              <a:rPr lang="en-IN" sz="2400" dirty="0"/>
              <a:t>Audience</a:t>
            </a:r>
          </a:p>
          <a:p>
            <a:pPr marL="800100" lvl="1" indent="-342900">
              <a:buFont typeface="Arial" panose="020B0604020202020204" pitchFamily="34" charset="0"/>
              <a:buChar char="•"/>
            </a:pPr>
            <a:r>
              <a:rPr lang="en-IN" sz="2400" dirty="0"/>
              <a:t>Font</a:t>
            </a:r>
          </a:p>
          <a:p>
            <a:pPr marL="800100" lvl="1" indent="-342900">
              <a:buFont typeface="Arial" panose="020B0604020202020204" pitchFamily="34" charset="0"/>
              <a:buChar char="•"/>
            </a:pPr>
            <a:r>
              <a:rPr lang="en-IN" sz="2400" dirty="0"/>
              <a:t>Design </a:t>
            </a:r>
          </a:p>
          <a:p>
            <a:pPr marL="800100" lvl="1" indent="-342900">
              <a:buFont typeface="Arial" panose="020B0604020202020204" pitchFamily="34" charset="0"/>
              <a:buChar char="•"/>
            </a:pPr>
            <a:r>
              <a:rPr lang="en-IN" sz="2400" dirty="0"/>
              <a:t>Aesthetics of slides</a:t>
            </a:r>
          </a:p>
          <a:p>
            <a:pPr lvl="1"/>
            <a:endParaRPr lang="en-IN" sz="2200" dirty="0"/>
          </a:p>
        </p:txBody>
      </p:sp>
      <p:pic>
        <p:nvPicPr>
          <p:cNvPr id="10" name="Picture 9">
            <a:extLst>
              <a:ext uri="{FF2B5EF4-FFF2-40B4-BE49-F238E27FC236}">
                <a16:creationId xmlns:a16="http://schemas.microsoft.com/office/drawing/2014/main" id="{BB0D3D18-356D-D5B0-9DF8-C13BC964565B}"/>
              </a:ext>
            </a:extLst>
          </p:cNvPr>
          <p:cNvPicPr>
            <a:picLocks noChangeAspect="1"/>
          </p:cNvPicPr>
          <p:nvPr/>
        </p:nvPicPr>
        <p:blipFill>
          <a:blip r:embed="rId2"/>
          <a:stretch>
            <a:fillRect/>
          </a:stretch>
        </p:blipFill>
        <p:spPr>
          <a:xfrm>
            <a:off x="1301944" y="4239993"/>
            <a:ext cx="3033023" cy="2088061"/>
          </a:xfrm>
          <a:prstGeom prst="rect">
            <a:avLst/>
          </a:prstGeom>
        </p:spPr>
      </p:pic>
      <p:pic>
        <p:nvPicPr>
          <p:cNvPr id="12" name="Picture 11">
            <a:extLst>
              <a:ext uri="{FF2B5EF4-FFF2-40B4-BE49-F238E27FC236}">
                <a16:creationId xmlns:a16="http://schemas.microsoft.com/office/drawing/2014/main" id="{E112A61A-28C4-46A8-359D-9E7272E57054}"/>
              </a:ext>
            </a:extLst>
          </p:cNvPr>
          <p:cNvPicPr>
            <a:picLocks noChangeAspect="1"/>
          </p:cNvPicPr>
          <p:nvPr/>
        </p:nvPicPr>
        <p:blipFill>
          <a:blip r:embed="rId3"/>
          <a:stretch>
            <a:fillRect/>
          </a:stretch>
        </p:blipFill>
        <p:spPr>
          <a:xfrm>
            <a:off x="5084482" y="4239991"/>
            <a:ext cx="2956816" cy="2004234"/>
          </a:xfrm>
          <a:prstGeom prst="rect">
            <a:avLst/>
          </a:prstGeom>
        </p:spPr>
      </p:pic>
      <p:pic>
        <p:nvPicPr>
          <p:cNvPr id="14" name="Picture 13">
            <a:extLst>
              <a:ext uri="{FF2B5EF4-FFF2-40B4-BE49-F238E27FC236}">
                <a16:creationId xmlns:a16="http://schemas.microsoft.com/office/drawing/2014/main" id="{F0D2C7F2-C230-BAC1-3622-B868566D947E}"/>
              </a:ext>
            </a:extLst>
          </p:cNvPr>
          <p:cNvPicPr>
            <a:picLocks noChangeAspect="1"/>
          </p:cNvPicPr>
          <p:nvPr/>
        </p:nvPicPr>
        <p:blipFill>
          <a:blip r:embed="rId4"/>
          <a:stretch>
            <a:fillRect/>
          </a:stretch>
        </p:blipFill>
        <p:spPr>
          <a:xfrm>
            <a:off x="8790813" y="4274286"/>
            <a:ext cx="2972058" cy="2011854"/>
          </a:xfrm>
          <a:prstGeom prst="rect">
            <a:avLst/>
          </a:prstGeom>
        </p:spPr>
      </p:pic>
      <p:pic>
        <p:nvPicPr>
          <p:cNvPr id="16" name="Picture 15">
            <a:extLst>
              <a:ext uri="{FF2B5EF4-FFF2-40B4-BE49-F238E27FC236}">
                <a16:creationId xmlns:a16="http://schemas.microsoft.com/office/drawing/2014/main" id="{DE654533-A217-42E5-9B8F-3797C33A6AEB}"/>
              </a:ext>
            </a:extLst>
          </p:cNvPr>
          <p:cNvPicPr>
            <a:picLocks noChangeAspect="1"/>
          </p:cNvPicPr>
          <p:nvPr/>
        </p:nvPicPr>
        <p:blipFill>
          <a:blip r:embed="rId5"/>
          <a:stretch>
            <a:fillRect/>
          </a:stretch>
        </p:blipFill>
        <p:spPr>
          <a:xfrm>
            <a:off x="4783871" y="3090309"/>
            <a:ext cx="4885349" cy="677381"/>
          </a:xfrm>
          <a:prstGeom prst="rect">
            <a:avLst/>
          </a:prstGeom>
        </p:spPr>
      </p:pic>
    </p:spTree>
    <p:extLst>
      <p:ext uri="{BB962C8B-B14F-4D97-AF65-F5344CB8AC3E}">
        <p14:creationId xmlns:p14="http://schemas.microsoft.com/office/powerpoint/2010/main" val="17300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D465B3-8E4F-41AB-B5D1-03BEEFE3CA9C}"/>
              </a:ext>
            </a:extLst>
          </p:cNvPr>
          <p:cNvPicPr>
            <a:picLocks noChangeAspect="1"/>
          </p:cNvPicPr>
          <p:nvPr/>
        </p:nvPicPr>
        <p:blipFill>
          <a:blip r:embed="rId3"/>
          <a:stretch>
            <a:fillRect/>
          </a:stretch>
        </p:blipFill>
        <p:spPr>
          <a:xfrm>
            <a:off x="460611" y="331430"/>
            <a:ext cx="11270778" cy="6195139"/>
          </a:xfrm>
          <a:prstGeom prst="rect">
            <a:avLst/>
          </a:prstGeom>
        </p:spPr>
      </p:pic>
    </p:spTree>
    <p:extLst>
      <p:ext uri="{BB962C8B-B14F-4D97-AF65-F5344CB8AC3E}">
        <p14:creationId xmlns:p14="http://schemas.microsoft.com/office/powerpoint/2010/main" val="21017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1868D27-9AE8-416B-BDA8-8C304A89C10F}"/>
              </a:ext>
            </a:extLst>
          </p:cNvPr>
          <p:cNvSpPr txBox="1"/>
          <p:nvPr/>
        </p:nvSpPr>
        <p:spPr>
          <a:xfrm>
            <a:off x="2184531" y="283009"/>
            <a:ext cx="7495023" cy="615553"/>
          </a:xfrm>
          <a:prstGeom prst="rect">
            <a:avLst/>
          </a:prstGeom>
          <a:noFill/>
          <a:ln>
            <a:solidFill>
              <a:schemeClr val="tx1"/>
            </a:solidFill>
          </a:ln>
        </p:spPr>
        <p:txBody>
          <a:bodyPr wrap="square" lIns="137160" tIns="91440" rIns="0" bIns="91440" rtlCol="0">
            <a:spAutoFit/>
          </a:bodyPr>
          <a:lstStyle/>
          <a:p>
            <a:pPr algn="ctr"/>
            <a:r>
              <a:rPr lang="en-IN" sz="2800" dirty="0"/>
              <a:t>Skills Learned / Upgraded</a:t>
            </a:r>
          </a:p>
        </p:txBody>
      </p:sp>
      <p:sp>
        <p:nvSpPr>
          <p:cNvPr id="6" name="TextBox 5">
            <a:extLst>
              <a:ext uri="{FF2B5EF4-FFF2-40B4-BE49-F238E27FC236}">
                <a16:creationId xmlns:a16="http://schemas.microsoft.com/office/drawing/2014/main" id="{C27926D1-D414-447A-BF09-7B1F563C121F}"/>
              </a:ext>
            </a:extLst>
          </p:cNvPr>
          <p:cNvSpPr txBox="1"/>
          <p:nvPr/>
        </p:nvSpPr>
        <p:spPr>
          <a:xfrm>
            <a:off x="489164" y="1413063"/>
            <a:ext cx="7730573" cy="4278094"/>
          </a:xfrm>
          <a:prstGeom prst="rect">
            <a:avLst/>
          </a:prstGeom>
          <a:noFill/>
          <a:ln>
            <a:noFill/>
          </a:ln>
        </p:spPr>
        <p:txBody>
          <a:bodyPr wrap="square">
            <a:spAutoFit/>
          </a:bodyPr>
          <a:lstStyle/>
          <a:p>
            <a:pPr marL="285750" indent="-285750">
              <a:buFont typeface="Arial" panose="020B0604020202020204" pitchFamily="34" charset="0"/>
              <a:buChar char="•"/>
            </a:pPr>
            <a:r>
              <a:rPr lang="en-IN" sz="1600" dirty="0"/>
              <a:t>Programming Languages</a:t>
            </a:r>
          </a:p>
          <a:p>
            <a:pPr marL="742950" lvl="1" indent="-285750">
              <a:buFont typeface="Arial" panose="020B0604020202020204" pitchFamily="34" charset="0"/>
              <a:buChar char="•"/>
            </a:pPr>
            <a:r>
              <a:rPr lang="en-IN" sz="1400" dirty="0"/>
              <a:t>Python</a:t>
            </a:r>
          </a:p>
          <a:p>
            <a:pPr marL="742950" lvl="1" indent="-285750">
              <a:buFont typeface="Arial" panose="020B0604020202020204" pitchFamily="34" charset="0"/>
              <a:buChar char="•"/>
            </a:pPr>
            <a:r>
              <a:rPr lang="en-IN" sz="1400" dirty="0"/>
              <a:t>Java</a:t>
            </a:r>
          </a:p>
          <a:p>
            <a:pPr marL="742950" lvl="1" indent="-285750">
              <a:buFont typeface="Arial" panose="020B0604020202020204" pitchFamily="34" charset="0"/>
              <a:buChar char="•"/>
            </a:pPr>
            <a:r>
              <a:rPr lang="en-IN" sz="1400" dirty="0"/>
              <a:t>C++</a:t>
            </a:r>
          </a:p>
          <a:p>
            <a:pPr marL="285750" indent="-285750">
              <a:buFont typeface="Arial" panose="020B0604020202020204" pitchFamily="34" charset="0"/>
              <a:buChar char="•"/>
            </a:pPr>
            <a:r>
              <a:rPr lang="en-IN" sz="1600" dirty="0"/>
              <a:t>AI &amp; ML</a:t>
            </a:r>
          </a:p>
          <a:p>
            <a:pPr marL="742950" lvl="1" indent="-285750">
              <a:buFont typeface="Arial" panose="020B0604020202020204" pitchFamily="34" charset="0"/>
              <a:buChar char="•"/>
            </a:pPr>
            <a:r>
              <a:rPr lang="en-IN" sz="1400" dirty="0"/>
              <a:t>Maths for data science</a:t>
            </a:r>
          </a:p>
          <a:p>
            <a:pPr marL="742950" lvl="1" indent="-285750">
              <a:buFont typeface="Arial" panose="020B0604020202020204" pitchFamily="34" charset="0"/>
              <a:buChar char="•"/>
            </a:pPr>
            <a:r>
              <a:rPr lang="en-IN" sz="1400" dirty="0"/>
              <a:t>Fundamentals of Data Engineering</a:t>
            </a:r>
          </a:p>
          <a:p>
            <a:pPr marL="742950" lvl="1" indent="-285750">
              <a:buFont typeface="Arial" panose="020B0604020202020204" pitchFamily="34" charset="0"/>
              <a:buChar char="•"/>
            </a:pPr>
            <a:r>
              <a:rPr lang="en-IN" sz="1400" dirty="0"/>
              <a:t>Basics of AI &amp; ML</a:t>
            </a:r>
          </a:p>
          <a:p>
            <a:pPr marL="742950" lvl="1" indent="-285750">
              <a:buFont typeface="Arial" panose="020B0604020202020204" pitchFamily="34" charset="0"/>
              <a:buChar char="•"/>
            </a:pPr>
            <a:r>
              <a:rPr lang="en-IN" sz="1400" dirty="0"/>
              <a:t>Basic ML Libs in Python (</a:t>
            </a:r>
            <a:r>
              <a:rPr lang="en-IN" sz="1400" i="1" dirty="0"/>
              <a:t>NumPy, Pandas, Matplotlib, SciPy</a:t>
            </a:r>
            <a:r>
              <a:rPr lang="en-IN" sz="1400" dirty="0"/>
              <a:t>)</a:t>
            </a:r>
          </a:p>
          <a:p>
            <a:pPr marL="742950" lvl="1" indent="-285750">
              <a:buFont typeface="Arial" panose="020B0604020202020204" pitchFamily="34" charset="0"/>
              <a:buChar char="•"/>
            </a:pPr>
            <a:r>
              <a:rPr lang="en-IN" sz="1600" dirty="0"/>
              <a:t>ChatGPT &amp; Prompt Engineering</a:t>
            </a:r>
            <a:endParaRPr lang="en-IN" sz="1400" dirty="0"/>
          </a:p>
          <a:p>
            <a:pPr marL="285750" indent="-285750">
              <a:buFont typeface="Arial" panose="020B0604020202020204" pitchFamily="34" charset="0"/>
              <a:buChar char="•"/>
            </a:pPr>
            <a:r>
              <a:rPr lang="en-IN" sz="1600" dirty="0"/>
              <a:t>Software Development related</a:t>
            </a:r>
          </a:p>
          <a:p>
            <a:pPr marL="742950" lvl="1" indent="-285750">
              <a:buFont typeface="Arial" panose="020B0604020202020204" pitchFamily="34" charset="0"/>
              <a:buChar char="•"/>
            </a:pPr>
            <a:r>
              <a:rPr lang="en-IN" sz="1600" dirty="0"/>
              <a:t>Microsoft Excel</a:t>
            </a:r>
          </a:p>
          <a:p>
            <a:pPr marL="742950" lvl="1" indent="-285750">
              <a:buFont typeface="Arial" panose="020B0604020202020204" pitchFamily="34" charset="0"/>
              <a:buChar char="•"/>
            </a:pPr>
            <a:r>
              <a:rPr lang="en-IN" sz="1400" dirty="0"/>
              <a:t>Clean Code : Guidelines to Better Code</a:t>
            </a:r>
          </a:p>
          <a:p>
            <a:pPr marL="742950" lvl="1" indent="-285750">
              <a:buFont typeface="Arial" panose="020B0604020202020204" pitchFamily="34" charset="0"/>
              <a:buChar char="•"/>
            </a:pPr>
            <a:r>
              <a:rPr lang="en-IN" sz="1400" dirty="0"/>
              <a:t>GitHub :  Archive, Research and Collaborate</a:t>
            </a:r>
          </a:p>
          <a:p>
            <a:pPr marL="742950" lvl="1" indent="-285750">
              <a:buFont typeface="Arial" panose="020B0604020202020204" pitchFamily="34" charset="0"/>
              <a:buChar char="•"/>
            </a:pPr>
            <a:r>
              <a:rPr lang="en-IN" sz="1400" dirty="0"/>
              <a:t>Regular Expressions :  Text Processing</a:t>
            </a:r>
          </a:p>
          <a:p>
            <a:pPr marL="285750" indent="-285750">
              <a:buFont typeface="Arial" panose="020B0604020202020204" pitchFamily="34" charset="0"/>
              <a:buChar char="•"/>
            </a:pPr>
            <a:r>
              <a:rPr lang="en-IN" sz="1800" dirty="0"/>
              <a:t>General/Misc.</a:t>
            </a:r>
          </a:p>
          <a:p>
            <a:pPr marL="742950" lvl="1" indent="-285750">
              <a:buFont typeface="Arial" panose="020B0604020202020204" pitchFamily="34" charset="0"/>
              <a:buChar char="•"/>
            </a:pPr>
            <a:r>
              <a:rPr lang="en-IN" sz="1600" dirty="0"/>
              <a:t>Better PowerPoint Presentation</a:t>
            </a:r>
          </a:p>
          <a:p>
            <a:pPr marR="0" lvl="0"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srgbClr val="000000"/>
              </a:solidFill>
              <a:effectLst/>
              <a:uLnTx/>
              <a:uFillTx/>
              <a:latin typeface="Microsoft Sans Serif"/>
              <a:ea typeface="+mn-ea"/>
              <a:cs typeface="+mn-cs"/>
            </a:endParaRPr>
          </a:p>
        </p:txBody>
      </p:sp>
    </p:spTree>
    <p:extLst>
      <p:ext uri="{BB962C8B-B14F-4D97-AF65-F5344CB8AC3E}">
        <p14:creationId xmlns:p14="http://schemas.microsoft.com/office/powerpoint/2010/main" val="117820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6F0E68C-B9D2-4D0A-A16C-D6B367725CD0}"/>
              </a:ext>
            </a:extLst>
          </p:cNvPr>
          <p:cNvSpPr txBox="1"/>
          <p:nvPr/>
        </p:nvSpPr>
        <p:spPr>
          <a:xfrm>
            <a:off x="2184531" y="283009"/>
            <a:ext cx="7495023" cy="594009"/>
          </a:xfrm>
          <a:prstGeom prst="rect">
            <a:avLst/>
          </a:prstGeom>
          <a:noFill/>
          <a:ln>
            <a:solidFill>
              <a:schemeClr val="tx1"/>
            </a:solidFill>
          </a:ln>
        </p:spPr>
        <p:txBody>
          <a:bodyPr wrap="square" lIns="137160" tIns="91440" rIns="0" bIns="91440" rtlCol="0">
            <a:spAutoFit/>
          </a:bodyPr>
          <a:lstStyle/>
          <a:p>
            <a:pPr algn="ctr">
              <a:lnSpc>
                <a:spcPct val="95000"/>
              </a:lnSpc>
              <a:spcBef>
                <a:spcPts val="1200"/>
              </a:spcBef>
            </a:pPr>
            <a:r>
              <a:rPr lang="en-US" sz="2800" dirty="0"/>
              <a:t>Time Spent vs Confidence</a:t>
            </a:r>
          </a:p>
        </p:txBody>
      </p:sp>
      <p:graphicFrame>
        <p:nvGraphicFramePr>
          <p:cNvPr id="6" name="Chart 5">
            <a:extLst>
              <a:ext uri="{FF2B5EF4-FFF2-40B4-BE49-F238E27FC236}">
                <a16:creationId xmlns:a16="http://schemas.microsoft.com/office/drawing/2014/main" id="{9B91A306-57B3-473E-DA3B-62F79C165719}"/>
              </a:ext>
            </a:extLst>
          </p:cNvPr>
          <p:cNvGraphicFramePr>
            <a:graphicFrameLocks/>
          </p:cNvGraphicFramePr>
          <p:nvPr>
            <p:extLst>
              <p:ext uri="{D42A27DB-BD31-4B8C-83A1-F6EECF244321}">
                <p14:modId xmlns:p14="http://schemas.microsoft.com/office/powerpoint/2010/main" val="2887277854"/>
              </p:ext>
            </p:extLst>
          </p:nvPr>
        </p:nvGraphicFramePr>
        <p:xfrm>
          <a:off x="288053" y="994787"/>
          <a:ext cx="11615894" cy="54596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928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6F0E68C-B9D2-4D0A-A16C-D6B367725CD0}"/>
              </a:ext>
            </a:extLst>
          </p:cNvPr>
          <p:cNvSpPr txBox="1"/>
          <p:nvPr/>
        </p:nvSpPr>
        <p:spPr>
          <a:xfrm>
            <a:off x="579455" y="419098"/>
            <a:ext cx="11033089" cy="1061829"/>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Python</a:t>
            </a:r>
            <a:br>
              <a:rPr lang="en-IN" sz="4400" b="1" dirty="0"/>
            </a:br>
            <a:r>
              <a:rPr lang="en-IN" sz="1400" b="1" dirty="0"/>
              <a:t>O’REILLY TRAINING: Python Full Throttle, Basics of Python for everybody</a:t>
            </a:r>
            <a:br>
              <a:rPr lang="en-IN" sz="1400" b="1" dirty="0"/>
            </a:br>
            <a:r>
              <a:rPr lang="en-IN" sz="1400" b="1" dirty="0"/>
              <a:t>Self Learning:- Basic training, Python libraries</a:t>
            </a:r>
            <a:endParaRPr lang="en-US" sz="1400" dirty="0">
              <a:solidFill>
                <a:schemeClr val="accent2">
                  <a:lumMod val="75000"/>
                </a:schemeClr>
              </a:solidFill>
            </a:endParaRPr>
          </a:p>
        </p:txBody>
      </p:sp>
      <p:sp>
        <p:nvSpPr>
          <p:cNvPr id="14" name="TextBox 13">
            <a:extLst>
              <a:ext uri="{FF2B5EF4-FFF2-40B4-BE49-F238E27FC236}">
                <a16:creationId xmlns:a16="http://schemas.microsoft.com/office/drawing/2014/main" id="{B12ADF1F-A387-4052-82A9-C39E9F65AFAA}"/>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3" name="TextBox 2">
            <a:extLst>
              <a:ext uri="{FF2B5EF4-FFF2-40B4-BE49-F238E27FC236}">
                <a16:creationId xmlns:a16="http://schemas.microsoft.com/office/drawing/2014/main" id="{0C7D71EC-94CB-1075-E504-8F35E27FA10A}"/>
              </a:ext>
            </a:extLst>
          </p:cNvPr>
          <p:cNvSpPr txBox="1"/>
          <p:nvPr/>
        </p:nvSpPr>
        <p:spPr>
          <a:xfrm>
            <a:off x="579455" y="2028616"/>
            <a:ext cx="6647091" cy="3785652"/>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Python basics from “Hello World”.</a:t>
            </a:r>
          </a:p>
          <a:p>
            <a:pPr marL="342900" indent="-342900">
              <a:buFont typeface="Arial" panose="020B0604020202020204" pitchFamily="34" charset="0"/>
              <a:buChar char="•"/>
            </a:pPr>
            <a:r>
              <a:rPr lang="en-IN" sz="2400" dirty="0"/>
              <a:t>Solved Mathematical/Logical problems in Python.</a:t>
            </a:r>
          </a:p>
          <a:p>
            <a:pPr marL="800100" lvl="1" indent="-342900">
              <a:buFont typeface="Arial" panose="020B0604020202020204" pitchFamily="34" charset="0"/>
              <a:buChar char="•"/>
            </a:pPr>
            <a:r>
              <a:rPr lang="en-IN" sz="2400" dirty="0"/>
              <a:t>prime/not prime</a:t>
            </a:r>
          </a:p>
          <a:p>
            <a:pPr marL="800100" lvl="1" indent="-342900">
              <a:buFont typeface="Arial" panose="020B0604020202020204" pitchFamily="34" charset="0"/>
              <a:buChar char="•"/>
            </a:pPr>
            <a:r>
              <a:rPr lang="en-IN" sz="2400" dirty="0"/>
              <a:t>fibonacci series</a:t>
            </a:r>
          </a:p>
          <a:p>
            <a:pPr marL="800100" lvl="1" indent="-342900">
              <a:buFont typeface="Arial" panose="020B0604020202020204" pitchFamily="34" charset="0"/>
              <a:buChar char="•"/>
            </a:pPr>
            <a:r>
              <a:rPr lang="en-IN" sz="2400" dirty="0"/>
              <a:t>lists/dictionary/set/tuples</a:t>
            </a:r>
          </a:p>
          <a:p>
            <a:pPr marL="342900" indent="-342900">
              <a:buFont typeface="Arial" panose="020B0604020202020204" pitchFamily="34" charset="0"/>
              <a:buChar char="•"/>
            </a:pPr>
            <a:r>
              <a:rPr lang="en-IN" sz="2400" dirty="0"/>
              <a:t>Python Lib (NumPy, pandas, SciPy, matplotlib)</a:t>
            </a:r>
          </a:p>
          <a:p>
            <a:pPr marL="342900" indent="-342900">
              <a:buFont typeface="Arial" panose="020B0604020202020204" pitchFamily="34" charset="0"/>
              <a:buChar char="•"/>
            </a:pPr>
            <a:r>
              <a:rPr lang="en-IN" sz="2400" dirty="0"/>
              <a:t>Python Docs training</a:t>
            </a:r>
          </a:p>
          <a:p>
            <a:pPr marL="342900" indent="-342900">
              <a:buFont typeface="Arial" panose="020B0604020202020204" pitchFamily="34" charset="0"/>
              <a:buChar char="•"/>
            </a:pPr>
            <a:r>
              <a:rPr lang="en-IN" sz="2400" dirty="0"/>
              <a:t>Python tips and tricks/interview questions</a:t>
            </a:r>
          </a:p>
        </p:txBody>
      </p:sp>
    </p:spTree>
    <p:extLst>
      <p:ext uri="{BB962C8B-B14F-4D97-AF65-F5344CB8AC3E}">
        <p14:creationId xmlns:p14="http://schemas.microsoft.com/office/powerpoint/2010/main" val="175196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ADABC00-D3DD-9334-973A-30531A3B5568}"/>
              </a:ext>
            </a:extLst>
          </p:cNvPr>
          <p:cNvSpPr txBox="1"/>
          <p:nvPr/>
        </p:nvSpPr>
        <p:spPr>
          <a:xfrm>
            <a:off x="579455" y="419098"/>
            <a:ext cx="11033089" cy="1061829"/>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Java</a:t>
            </a:r>
            <a:br>
              <a:rPr lang="en-IN" sz="4800" b="1" dirty="0"/>
            </a:br>
            <a:r>
              <a:rPr lang="en-IN" sz="1400" b="1" dirty="0"/>
              <a:t>O’REILLY TRAINING: Java Full Throttle, Java scratch to real code</a:t>
            </a:r>
            <a:br>
              <a:rPr lang="en-IN" sz="1400" b="1" dirty="0"/>
            </a:br>
            <a:r>
              <a:rPr lang="en-IN" sz="1400" b="1" dirty="0"/>
              <a:t>Java self learning (material: college sem-2 work)</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E0428C69-611D-1379-6F0E-F2A5EDA60F79}"/>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F238B5A2-5103-14C4-28DB-D1BCC26BE68E}"/>
              </a:ext>
            </a:extLst>
          </p:cNvPr>
          <p:cNvSpPr txBox="1"/>
          <p:nvPr/>
        </p:nvSpPr>
        <p:spPr>
          <a:xfrm>
            <a:off x="391886" y="1991382"/>
            <a:ext cx="6604279" cy="1569660"/>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Revision on Java learned in Sem-2</a:t>
            </a:r>
          </a:p>
          <a:p>
            <a:pPr marL="342900" indent="-342900">
              <a:buFont typeface="Arial" panose="020B0604020202020204" pitchFamily="34" charset="0"/>
              <a:buChar char="•"/>
            </a:pPr>
            <a:r>
              <a:rPr lang="en-IN" sz="2400" dirty="0"/>
              <a:t>Applying Clean Code learnings</a:t>
            </a:r>
          </a:p>
          <a:p>
            <a:pPr marL="342900" indent="-342900">
              <a:buFont typeface="Arial" panose="020B0604020202020204" pitchFamily="34" charset="0"/>
              <a:buChar char="•"/>
            </a:pPr>
            <a:r>
              <a:rPr lang="en-IN" sz="2400" dirty="0"/>
              <a:t>Practice of Java code from Java Full Throttle</a:t>
            </a:r>
          </a:p>
          <a:p>
            <a:pPr marL="342900" indent="-342900">
              <a:buFont typeface="Arial" panose="020B0604020202020204" pitchFamily="34" charset="0"/>
              <a:buChar char="•"/>
            </a:pPr>
            <a:r>
              <a:rPr lang="en-IN" sz="2400" dirty="0"/>
              <a:t>Practiced and ran over 100+ Java programs</a:t>
            </a:r>
          </a:p>
        </p:txBody>
      </p:sp>
      <p:pic>
        <p:nvPicPr>
          <p:cNvPr id="10" name="Picture 9">
            <a:extLst>
              <a:ext uri="{FF2B5EF4-FFF2-40B4-BE49-F238E27FC236}">
                <a16:creationId xmlns:a16="http://schemas.microsoft.com/office/drawing/2014/main" id="{8ECD5292-C59F-4259-C7B4-6E43DB6A04DC}"/>
              </a:ext>
            </a:extLst>
          </p:cNvPr>
          <p:cNvPicPr>
            <a:picLocks noChangeAspect="1"/>
          </p:cNvPicPr>
          <p:nvPr/>
        </p:nvPicPr>
        <p:blipFill>
          <a:blip r:embed="rId3"/>
          <a:stretch>
            <a:fillRect/>
          </a:stretch>
        </p:blipFill>
        <p:spPr>
          <a:xfrm>
            <a:off x="7307591" y="1870111"/>
            <a:ext cx="4131906" cy="4176900"/>
          </a:xfrm>
          <a:prstGeom prst="rect">
            <a:avLst/>
          </a:prstGeom>
        </p:spPr>
      </p:pic>
    </p:spTree>
    <p:extLst>
      <p:ext uri="{BB962C8B-B14F-4D97-AF65-F5344CB8AC3E}">
        <p14:creationId xmlns:p14="http://schemas.microsoft.com/office/powerpoint/2010/main" val="34168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D9FEFE4-5B3E-9FA8-3CB6-16F04CB94110}"/>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C++</a:t>
            </a:r>
            <a:br>
              <a:rPr lang="en-IN" sz="4800" b="1" dirty="0"/>
            </a:br>
            <a:r>
              <a:rPr lang="en-IN" sz="1400" b="1" dirty="0"/>
              <a:t>O’REILLY TRAINING: C++ Full Throttle, C++ Software design</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2203D27F-744E-B170-33C5-FC139FA907F4}"/>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F9B3C58B-9EE2-5DC6-8A86-F6579E78DBAF}"/>
              </a:ext>
            </a:extLst>
          </p:cNvPr>
          <p:cNvSpPr txBox="1"/>
          <p:nvPr/>
        </p:nvSpPr>
        <p:spPr>
          <a:xfrm>
            <a:off x="579455" y="1707927"/>
            <a:ext cx="6647091" cy="830997"/>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Syntax</a:t>
            </a:r>
          </a:p>
          <a:p>
            <a:pPr marL="342900" indent="-342900">
              <a:buFont typeface="Arial" panose="020B0604020202020204" pitchFamily="34" charset="0"/>
              <a:buChar char="•"/>
            </a:pPr>
            <a:r>
              <a:rPr lang="en-IN" sz="2400" dirty="0"/>
              <a:t>Similarities between C++/ Java/ Python/ C</a:t>
            </a:r>
          </a:p>
        </p:txBody>
      </p:sp>
      <p:pic>
        <p:nvPicPr>
          <p:cNvPr id="5" name="Picture 4">
            <a:extLst>
              <a:ext uri="{FF2B5EF4-FFF2-40B4-BE49-F238E27FC236}">
                <a16:creationId xmlns:a16="http://schemas.microsoft.com/office/drawing/2014/main" id="{D02812A3-6825-8931-C129-E87A6DF535E4}"/>
              </a:ext>
            </a:extLst>
          </p:cNvPr>
          <p:cNvPicPr>
            <a:picLocks noChangeAspect="1"/>
          </p:cNvPicPr>
          <p:nvPr/>
        </p:nvPicPr>
        <p:blipFill>
          <a:blip r:embed="rId3"/>
          <a:stretch>
            <a:fillRect/>
          </a:stretch>
        </p:blipFill>
        <p:spPr>
          <a:xfrm>
            <a:off x="7226546" y="1822289"/>
            <a:ext cx="3490647" cy="2151468"/>
          </a:xfrm>
          <a:prstGeom prst="rect">
            <a:avLst/>
          </a:prstGeom>
        </p:spPr>
      </p:pic>
      <p:pic>
        <p:nvPicPr>
          <p:cNvPr id="6" name="Picture 5">
            <a:extLst>
              <a:ext uri="{FF2B5EF4-FFF2-40B4-BE49-F238E27FC236}">
                <a16:creationId xmlns:a16="http://schemas.microsoft.com/office/drawing/2014/main" id="{9A20E32E-CC23-121E-3F4A-F1E134D38F7F}"/>
              </a:ext>
            </a:extLst>
          </p:cNvPr>
          <p:cNvPicPr>
            <a:picLocks noChangeAspect="1"/>
          </p:cNvPicPr>
          <p:nvPr/>
        </p:nvPicPr>
        <p:blipFill>
          <a:blip r:embed="rId4"/>
          <a:stretch>
            <a:fillRect/>
          </a:stretch>
        </p:blipFill>
        <p:spPr>
          <a:xfrm>
            <a:off x="6751422" y="4269920"/>
            <a:ext cx="4440894" cy="1662088"/>
          </a:xfrm>
          <a:prstGeom prst="rect">
            <a:avLst/>
          </a:prstGeom>
        </p:spPr>
      </p:pic>
    </p:spTree>
    <p:extLst>
      <p:ext uri="{BB962C8B-B14F-4D97-AF65-F5344CB8AC3E}">
        <p14:creationId xmlns:p14="http://schemas.microsoft.com/office/powerpoint/2010/main" val="3177415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D547CF-9A66-0574-23AC-15FD70900AC3}"/>
              </a:ext>
            </a:extLst>
          </p:cNvPr>
          <p:cNvSpPr txBox="1"/>
          <p:nvPr/>
        </p:nvSpPr>
        <p:spPr>
          <a:xfrm>
            <a:off x="579455" y="409050"/>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dirty="0"/>
              <a:t>Maths for data science</a:t>
            </a:r>
            <a:br>
              <a:rPr lang="en-IN" sz="4800" dirty="0"/>
            </a:br>
            <a:r>
              <a:rPr lang="en-IN" sz="1400" b="1" dirty="0"/>
              <a:t>O’REILLY TRAINING: Essential Math for Data Science</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AD1AFFB4-70B0-4921-BB5F-B01323F26492}"/>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9A1FD1FD-8A87-836B-48B1-F8C82BFB8D48}"/>
              </a:ext>
            </a:extLst>
          </p:cNvPr>
          <p:cNvSpPr txBox="1"/>
          <p:nvPr/>
        </p:nvSpPr>
        <p:spPr>
          <a:xfrm>
            <a:off x="579455" y="1559173"/>
            <a:ext cx="6647091" cy="1200329"/>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Calculus</a:t>
            </a:r>
          </a:p>
          <a:p>
            <a:pPr marL="342900" indent="-342900">
              <a:buFont typeface="Arial" panose="020B0604020202020204" pitchFamily="34" charset="0"/>
              <a:buChar char="•"/>
            </a:pPr>
            <a:r>
              <a:rPr lang="en-IN" sz="2400" dirty="0"/>
              <a:t>Linear regression</a:t>
            </a:r>
          </a:p>
          <a:p>
            <a:pPr marL="342900" indent="-342900">
              <a:buFont typeface="Arial" panose="020B0604020202020204" pitchFamily="34" charset="0"/>
              <a:buChar char="•"/>
            </a:pPr>
            <a:r>
              <a:rPr lang="en-IN" sz="2400" dirty="0"/>
              <a:t>Logistic regression</a:t>
            </a:r>
          </a:p>
        </p:txBody>
      </p:sp>
      <p:pic>
        <p:nvPicPr>
          <p:cNvPr id="6" name="Picture 5">
            <a:extLst>
              <a:ext uri="{FF2B5EF4-FFF2-40B4-BE49-F238E27FC236}">
                <a16:creationId xmlns:a16="http://schemas.microsoft.com/office/drawing/2014/main" id="{7D7F0177-E681-035D-7F2E-22AC1B2C8A60}"/>
              </a:ext>
            </a:extLst>
          </p:cNvPr>
          <p:cNvPicPr>
            <a:picLocks noChangeAspect="1"/>
          </p:cNvPicPr>
          <p:nvPr/>
        </p:nvPicPr>
        <p:blipFill>
          <a:blip r:embed="rId3"/>
          <a:stretch>
            <a:fillRect/>
          </a:stretch>
        </p:blipFill>
        <p:spPr>
          <a:xfrm>
            <a:off x="4475487" y="1610568"/>
            <a:ext cx="5502117" cy="815411"/>
          </a:xfrm>
          <a:prstGeom prst="rect">
            <a:avLst/>
          </a:prstGeom>
        </p:spPr>
      </p:pic>
      <p:pic>
        <p:nvPicPr>
          <p:cNvPr id="8" name="Picture 7">
            <a:extLst>
              <a:ext uri="{FF2B5EF4-FFF2-40B4-BE49-F238E27FC236}">
                <a16:creationId xmlns:a16="http://schemas.microsoft.com/office/drawing/2014/main" id="{217458E4-B300-C2FB-3363-1BB5745FF5BD}"/>
              </a:ext>
            </a:extLst>
          </p:cNvPr>
          <p:cNvPicPr>
            <a:picLocks noChangeAspect="1"/>
          </p:cNvPicPr>
          <p:nvPr/>
        </p:nvPicPr>
        <p:blipFill>
          <a:blip r:embed="rId4"/>
          <a:stretch>
            <a:fillRect/>
          </a:stretch>
        </p:blipFill>
        <p:spPr>
          <a:xfrm>
            <a:off x="4794651" y="3365273"/>
            <a:ext cx="2354784" cy="1181202"/>
          </a:xfrm>
          <a:prstGeom prst="rect">
            <a:avLst/>
          </a:prstGeom>
        </p:spPr>
      </p:pic>
      <p:pic>
        <p:nvPicPr>
          <p:cNvPr id="9" name="Picture 8">
            <a:extLst>
              <a:ext uri="{FF2B5EF4-FFF2-40B4-BE49-F238E27FC236}">
                <a16:creationId xmlns:a16="http://schemas.microsoft.com/office/drawing/2014/main" id="{51E7224D-435F-0EB8-8A7D-19AA1EF78FE5}"/>
              </a:ext>
            </a:extLst>
          </p:cNvPr>
          <p:cNvPicPr>
            <a:picLocks noChangeAspect="1"/>
          </p:cNvPicPr>
          <p:nvPr/>
        </p:nvPicPr>
        <p:blipFill>
          <a:blip r:embed="rId5"/>
          <a:stretch>
            <a:fillRect/>
          </a:stretch>
        </p:blipFill>
        <p:spPr>
          <a:xfrm>
            <a:off x="8078155" y="2877551"/>
            <a:ext cx="2872989" cy="2156647"/>
          </a:xfrm>
          <a:prstGeom prst="rect">
            <a:avLst/>
          </a:prstGeom>
        </p:spPr>
      </p:pic>
    </p:spTree>
    <p:extLst>
      <p:ext uri="{BB962C8B-B14F-4D97-AF65-F5344CB8AC3E}">
        <p14:creationId xmlns:p14="http://schemas.microsoft.com/office/powerpoint/2010/main" val="20566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23997FF-98D8-B189-DAD3-8B8EA4960ABC}"/>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Data Engineering</a:t>
            </a:r>
            <a:br>
              <a:rPr lang="en-IN" sz="4800" b="1" dirty="0"/>
            </a:br>
            <a:r>
              <a:rPr lang="en-IN" sz="1400" b="1" dirty="0"/>
              <a:t>O’REILLY TRAINING: Fundamental of Data Engineering in 3 weeks</a:t>
            </a:r>
            <a:endParaRPr lang="en-US" sz="1400" dirty="0">
              <a:solidFill>
                <a:schemeClr val="accent2">
                  <a:lumMod val="75000"/>
                </a:schemeClr>
              </a:solidFill>
            </a:endParaRPr>
          </a:p>
        </p:txBody>
      </p:sp>
      <p:sp>
        <p:nvSpPr>
          <p:cNvPr id="3" name="TextBox 2">
            <a:extLst>
              <a:ext uri="{FF2B5EF4-FFF2-40B4-BE49-F238E27FC236}">
                <a16:creationId xmlns:a16="http://schemas.microsoft.com/office/drawing/2014/main" id="{81547EF2-74A6-1EEE-8277-09A0E62621D7}"/>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4" name="TextBox 3">
            <a:extLst>
              <a:ext uri="{FF2B5EF4-FFF2-40B4-BE49-F238E27FC236}">
                <a16:creationId xmlns:a16="http://schemas.microsoft.com/office/drawing/2014/main" id="{099AE268-AB02-DC5E-3765-F1865834D4C5}"/>
              </a:ext>
            </a:extLst>
          </p:cNvPr>
          <p:cNvSpPr txBox="1"/>
          <p:nvPr/>
        </p:nvSpPr>
        <p:spPr>
          <a:xfrm>
            <a:off x="579455" y="1430999"/>
            <a:ext cx="6647091" cy="2308324"/>
          </a:xfrm>
          <a:prstGeom prst="rect">
            <a:avLst/>
          </a:prstGeom>
          <a:noFill/>
          <a:ln>
            <a:noFill/>
          </a:ln>
        </p:spPr>
        <p:txBody>
          <a:bodyPr wrap="square">
            <a:spAutoFit/>
          </a:bodyPr>
          <a:lstStyle/>
          <a:p>
            <a:pPr marL="342900" indent="-342900">
              <a:buFont typeface="Arial" panose="020B0604020202020204" pitchFamily="34" charset="0"/>
              <a:buChar char="•"/>
            </a:pPr>
            <a:r>
              <a:rPr lang="en-IN" sz="2400" b="0" dirty="0"/>
              <a:t>Data handling</a:t>
            </a:r>
          </a:p>
          <a:p>
            <a:pPr marL="342900" indent="-342900">
              <a:buFont typeface="Arial" panose="020B0604020202020204" pitchFamily="34" charset="0"/>
              <a:buChar char="•"/>
            </a:pPr>
            <a:r>
              <a:rPr lang="en-IN" sz="2400" b="0" dirty="0"/>
              <a:t>Uses of data</a:t>
            </a:r>
          </a:p>
          <a:p>
            <a:pPr marL="342900" indent="-342900">
              <a:buFont typeface="Arial" panose="020B0604020202020204" pitchFamily="34" charset="0"/>
              <a:buChar char="•"/>
            </a:pPr>
            <a:r>
              <a:rPr lang="en-IN" sz="2400" b="0" dirty="0"/>
              <a:t>Segregation of data</a:t>
            </a:r>
          </a:p>
          <a:p>
            <a:pPr marL="342900" indent="-342900">
              <a:buFont typeface="Arial" panose="020B0604020202020204" pitchFamily="34" charset="0"/>
              <a:buChar char="•"/>
            </a:pPr>
            <a:r>
              <a:rPr lang="en-IN" sz="2400" b="0" dirty="0"/>
              <a:t>Corrupted data vs good data</a:t>
            </a:r>
          </a:p>
          <a:p>
            <a:pPr marL="342900" indent="-342900">
              <a:buFont typeface="Arial" panose="020B0604020202020204" pitchFamily="34" charset="0"/>
              <a:buChar char="•"/>
            </a:pPr>
            <a:r>
              <a:rPr lang="en-IN" sz="2400" b="0" dirty="0"/>
              <a:t>Data recognition by ADAS</a:t>
            </a:r>
          </a:p>
          <a:p>
            <a:pPr marL="342900" indent="-342900">
              <a:buFont typeface="Arial" panose="020B0604020202020204" pitchFamily="34" charset="0"/>
              <a:buChar char="•"/>
            </a:pPr>
            <a:r>
              <a:rPr lang="en-IN" sz="2400" b="0" dirty="0"/>
              <a:t>Working with data</a:t>
            </a:r>
          </a:p>
        </p:txBody>
      </p:sp>
      <p:pic>
        <p:nvPicPr>
          <p:cNvPr id="5" name="Picture 4">
            <a:extLst>
              <a:ext uri="{FF2B5EF4-FFF2-40B4-BE49-F238E27FC236}">
                <a16:creationId xmlns:a16="http://schemas.microsoft.com/office/drawing/2014/main" id="{673A14B8-2D5C-FDD6-1B3C-98FAC2F4345E}"/>
              </a:ext>
            </a:extLst>
          </p:cNvPr>
          <p:cNvPicPr>
            <a:picLocks noChangeAspect="1"/>
          </p:cNvPicPr>
          <p:nvPr/>
        </p:nvPicPr>
        <p:blipFill>
          <a:blip r:embed="rId3"/>
          <a:stretch>
            <a:fillRect/>
          </a:stretch>
        </p:blipFill>
        <p:spPr>
          <a:xfrm>
            <a:off x="5112124" y="1741775"/>
            <a:ext cx="6427864" cy="3995096"/>
          </a:xfrm>
          <a:prstGeom prst="rect">
            <a:avLst/>
          </a:prstGeom>
        </p:spPr>
      </p:pic>
    </p:spTree>
    <p:extLst>
      <p:ext uri="{BB962C8B-B14F-4D97-AF65-F5344CB8AC3E}">
        <p14:creationId xmlns:p14="http://schemas.microsoft.com/office/powerpoint/2010/main" val="335899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AC0A4AC-1B39-4110-F352-777E193CB343}"/>
              </a:ext>
            </a:extLst>
          </p:cNvPr>
          <p:cNvSpPr txBox="1"/>
          <p:nvPr/>
        </p:nvSpPr>
        <p:spPr>
          <a:xfrm>
            <a:off x="579455" y="419098"/>
            <a:ext cx="11033089" cy="857158"/>
          </a:xfrm>
          <a:prstGeom prst="rect">
            <a:avLst/>
          </a:prstGeom>
          <a:noFill/>
          <a:ln>
            <a:solidFill>
              <a:schemeClr val="tx1"/>
            </a:solidFill>
          </a:ln>
        </p:spPr>
        <p:txBody>
          <a:bodyPr wrap="square" lIns="137160" tIns="91440" rIns="0" bIns="91440" rtlCol="0">
            <a:spAutoFit/>
          </a:bodyPr>
          <a:lstStyle/>
          <a:p>
            <a:pPr>
              <a:lnSpc>
                <a:spcPct val="95000"/>
              </a:lnSpc>
              <a:spcBef>
                <a:spcPts val="1200"/>
              </a:spcBef>
            </a:pPr>
            <a:r>
              <a:rPr lang="en-IN" sz="3200" b="1" dirty="0"/>
              <a:t>Basics of AIML</a:t>
            </a:r>
            <a:br>
              <a:rPr lang="en-IN" sz="4400" b="1" dirty="0"/>
            </a:br>
            <a:r>
              <a:rPr lang="en-IN" sz="1400" b="1" dirty="0"/>
              <a:t>O’REILLY TRAINING: 	Overview of AIML, </a:t>
            </a:r>
            <a:endParaRPr lang="en-US" sz="1400" dirty="0">
              <a:solidFill>
                <a:schemeClr val="accent2">
                  <a:lumMod val="75000"/>
                </a:schemeClr>
              </a:solidFill>
            </a:endParaRPr>
          </a:p>
        </p:txBody>
      </p:sp>
      <p:sp>
        <p:nvSpPr>
          <p:cNvPr id="4" name="TextBox 3">
            <a:extLst>
              <a:ext uri="{FF2B5EF4-FFF2-40B4-BE49-F238E27FC236}">
                <a16:creationId xmlns:a16="http://schemas.microsoft.com/office/drawing/2014/main" id="{CC34C9C4-F69B-4519-8F00-3371898C4108}"/>
              </a:ext>
            </a:extLst>
          </p:cNvPr>
          <p:cNvSpPr txBox="1"/>
          <p:nvPr/>
        </p:nvSpPr>
        <p:spPr>
          <a:xfrm>
            <a:off x="2818456" y="1870111"/>
            <a:ext cx="6307175" cy="747897"/>
          </a:xfrm>
          <a:prstGeom prst="rect">
            <a:avLst/>
          </a:prstGeom>
          <a:noFill/>
          <a:ln>
            <a:noFill/>
          </a:ln>
        </p:spPr>
        <p:txBody>
          <a:bodyPr wrap="square" lIns="137160" tIns="91440" rIns="0" bIns="91440" rtlCol="0">
            <a:spAutoFit/>
          </a:bodyPr>
          <a:lstStyle/>
          <a:p>
            <a:pPr algn="l">
              <a:lnSpc>
                <a:spcPct val="95000"/>
              </a:lnSpc>
              <a:spcBef>
                <a:spcPts val="1200"/>
              </a:spcBef>
            </a:pPr>
            <a:endParaRPr lang="en-US" sz="1600" b="1" dirty="0"/>
          </a:p>
          <a:p>
            <a:pPr algn="l">
              <a:lnSpc>
                <a:spcPct val="95000"/>
              </a:lnSpc>
              <a:spcBef>
                <a:spcPts val="1200"/>
              </a:spcBef>
            </a:pPr>
            <a:endParaRPr lang="en-US" sz="1200" dirty="0">
              <a:latin typeface="Calibri" panose="020F0502020204030204" pitchFamily="34" charset="0"/>
            </a:endParaRPr>
          </a:p>
        </p:txBody>
      </p:sp>
      <p:sp>
        <p:nvSpPr>
          <p:cNvPr id="5" name="TextBox 4">
            <a:extLst>
              <a:ext uri="{FF2B5EF4-FFF2-40B4-BE49-F238E27FC236}">
                <a16:creationId xmlns:a16="http://schemas.microsoft.com/office/drawing/2014/main" id="{3292981D-78C4-9C8B-AAA9-E14738D55087}"/>
              </a:ext>
            </a:extLst>
          </p:cNvPr>
          <p:cNvSpPr txBox="1"/>
          <p:nvPr/>
        </p:nvSpPr>
        <p:spPr>
          <a:xfrm>
            <a:off x="579455" y="1725456"/>
            <a:ext cx="6471139" cy="1938992"/>
          </a:xfrm>
          <a:prstGeom prst="rect">
            <a:avLst/>
          </a:prstGeom>
          <a:noFill/>
          <a:ln>
            <a:noFill/>
          </a:ln>
        </p:spPr>
        <p:txBody>
          <a:bodyPr wrap="square">
            <a:spAutoFit/>
          </a:bodyPr>
          <a:lstStyle/>
          <a:p>
            <a:pPr marL="342900" indent="-342900">
              <a:buFont typeface="Arial" panose="020B0604020202020204" pitchFamily="34" charset="0"/>
              <a:buChar char="•"/>
            </a:pPr>
            <a:r>
              <a:rPr lang="en-IN" sz="2400" dirty="0"/>
              <a:t>What Exactly is AI?</a:t>
            </a:r>
          </a:p>
          <a:p>
            <a:pPr marL="342900" indent="-342900">
              <a:buFont typeface="Arial" panose="020B0604020202020204" pitchFamily="34" charset="0"/>
              <a:buChar char="•"/>
            </a:pPr>
            <a:r>
              <a:rPr lang="en-IN" sz="2400" dirty="0"/>
              <a:t>Neural Networks in AI</a:t>
            </a:r>
          </a:p>
          <a:p>
            <a:pPr marL="342900" indent="-342900">
              <a:buFont typeface="Arial" panose="020B0604020202020204" pitchFamily="34" charset="0"/>
              <a:buChar char="•"/>
            </a:pPr>
            <a:r>
              <a:rPr lang="en-IN" sz="2400" dirty="0"/>
              <a:t>Artificial Neural Network</a:t>
            </a:r>
          </a:p>
          <a:p>
            <a:pPr marL="342900" indent="-342900">
              <a:buFont typeface="Arial" panose="020B0604020202020204" pitchFamily="34" charset="0"/>
              <a:buChar char="•"/>
            </a:pPr>
            <a:r>
              <a:rPr lang="en-IN" sz="2400" dirty="0"/>
              <a:t>GABDO AI Process model(Goal, Acquire, Build, Deliver, Optimize)</a:t>
            </a:r>
          </a:p>
        </p:txBody>
      </p:sp>
    </p:spTree>
    <p:extLst>
      <p:ext uri="{BB962C8B-B14F-4D97-AF65-F5344CB8AC3E}">
        <p14:creationId xmlns:p14="http://schemas.microsoft.com/office/powerpoint/2010/main" val="388925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 id="{F81286C9-C5FE-4AE1-9ED1-4317D2257E68}" vid="{3989D216-566C-412A-ACED-0008FC5CEA79}"/>
    </a:ext>
  </a:extLst>
</a:theme>
</file>

<file path=ppt/theme/theme2.xml><?xml version="1.0" encoding="utf-8"?>
<a:theme xmlns:a="http://schemas.openxmlformats.org/drawingml/2006/main" name="1_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_External_Template_12.13.2017_D" id="{F81286C9-C5FE-4AE1-9ED1-4317D2257E68}" vid="{3D27DB47-1A99-434E-AC6D-3C34187AEE17}"/>
    </a:ext>
  </a:extLst>
</a:theme>
</file>

<file path=ppt/theme/theme3.xml><?xml version="1.0" encoding="utf-8"?>
<a:theme xmlns:a="http://schemas.openxmlformats.org/drawingml/2006/main" name="Qualcomm_Template_Standard_16x9_0506">
  <a:themeElements>
    <a:clrScheme name="Qualcomm Updated">
      <a:dk1>
        <a:sysClr val="windowText" lastClr="000000"/>
      </a:dk1>
      <a:lt1>
        <a:srgbClr val="FFFFFF"/>
      </a:lt1>
      <a:dk2>
        <a:srgbClr val="89D1B2"/>
      </a:dk2>
      <a:lt2>
        <a:srgbClr val="00ACBD"/>
      </a:lt2>
      <a:accent1>
        <a:srgbClr val="70CFEE"/>
      </a:accent1>
      <a:accent2>
        <a:srgbClr val="E98306"/>
      </a:accent2>
      <a:accent3>
        <a:srgbClr val="153C66"/>
      </a:accent3>
      <a:accent4>
        <a:srgbClr val="FFD939"/>
      </a:accent4>
      <a:accent5>
        <a:srgbClr val="FCB53B"/>
      </a:accent5>
      <a:accent6>
        <a:srgbClr val="F15B35"/>
      </a:accent6>
      <a:hlink>
        <a:srgbClr val="E74346"/>
      </a:hlink>
      <a:folHlink>
        <a:srgbClr val="3A3A3A"/>
      </a:folHlink>
    </a:clrScheme>
    <a:fontScheme name="Qualcomm Template">
      <a:majorFont>
        <a:latin typeface="Qualcomm Office Bold"/>
        <a:ea typeface=""/>
        <a:cs typeface=""/>
      </a:majorFont>
      <a:minorFont>
        <a:latin typeface="Qualcomm Office Regular"/>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spPr>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defPPr algn="ctr">
          <a:defRPr sz="1000" b="1" dirty="0" smtClean="0">
            <a:solidFill>
              <a:schemeClr val="bg1"/>
            </a:solidFill>
            <a:latin typeface="Calibri" panose="020F0502020204030204" pitchFamily="34" charset="0"/>
          </a:defRPr>
        </a:defPPr>
      </a:lstStyle>
      <a:style>
        <a:lnRef idx="3">
          <a:schemeClr val="lt1"/>
        </a:lnRef>
        <a:fillRef idx="1">
          <a:schemeClr val="accent1"/>
        </a:fillRef>
        <a:effectRef idx="1">
          <a:schemeClr val="accent1"/>
        </a:effectRef>
        <a:fontRef idx="minor">
          <a:schemeClr val="lt1"/>
        </a:fontRef>
      </a:style>
    </a:spDef>
    <a:lnDef>
      <a:spPr>
        <a:ln w="38100">
          <a:gradFill flip="none" rotWithShape="1">
            <a:gsLst>
              <a:gs pos="0">
                <a:srgbClr val="143C66"/>
              </a:gs>
              <a:gs pos="100000">
                <a:srgbClr val="008080"/>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spcAft>
            <a:spcPts val="300"/>
          </a:spcAft>
          <a:defRPr dirty="0" err="1" smtClean="0">
            <a:solidFill>
              <a:schemeClr val="tx1">
                <a:lumMod val="75000"/>
                <a:lumOff val="25000"/>
              </a:schemeClr>
            </a:solidFill>
            <a:latin typeface="Calibre Semibold" pitchFamily="34" charset="0"/>
          </a:defRPr>
        </a:defPPr>
      </a:lstStyle>
    </a:txDef>
  </a:objectDefaults>
  <a:extraClrSchemeLst/>
</a:theme>
</file>

<file path=ppt/theme/theme4.xml><?xml version="1.0" encoding="utf-8"?>
<a:theme xmlns:a="http://schemas.openxmlformats.org/drawingml/2006/main" name="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QC_16x9_Public_Template_Nov2019" id="{901E9F88-CC1D-CD45-8BC6-A2C2CE7A9AF8}" vid="{2D62E465-8D86-A648-A219-742F0A440BC4}"/>
    </a:ext>
  </a:extLst>
</a:theme>
</file>

<file path=ppt/theme/theme5.xml><?xml version="1.0" encoding="utf-8"?>
<a:theme xmlns:a="http://schemas.openxmlformats.org/drawingml/2006/main" name="1_Qualcomm Executive External">
  <a:themeElements>
    <a:clrScheme name="Custom 214">
      <a:dk1>
        <a:srgbClr val="13171F"/>
      </a:dk1>
      <a:lt1>
        <a:srgbClr val="F7F8FA"/>
      </a:lt1>
      <a:dk2>
        <a:srgbClr val="0E283C"/>
      </a:dk2>
      <a:lt2>
        <a:srgbClr val="E04F4F"/>
      </a:lt2>
      <a:accent1>
        <a:srgbClr val="2853DC"/>
      </a:accent1>
      <a:accent2>
        <a:srgbClr val="7BA0FF"/>
      </a:accent2>
      <a:accent3>
        <a:srgbClr val="39A3B5"/>
      </a:accent3>
      <a:accent4>
        <a:srgbClr val="82CBD7"/>
      </a:accent4>
      <a:accent5>
        <a:srgbClr val="445776"/>
      </a:accent5>
      <a:accent6>
        <a:srgbClr val="ACBACF"/>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96000"/>
          </a:lnSpc>
          <a:defRPr dirty="0" err="1">
            <a:solidFill>
              <a:schemeClr val="bg1"/>
            </a:solidFill>
            <a:latin typeface="Microsoft Sans Serif"/>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type="none" w="sm" len="sm"/>
          <a:tailEnd type="none" w="sm" len="sm"/>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lnSpc>
            <a:spcPct val="96000"/>
          </a:lnSpc>
          <a:defRPr sz="1600" dirty="0" smtClean="0">
            <a:solidFill>
              <a:schemeClr val="tx2"/>
            </a:solidFill>
            <a:latin typeface="Microsoft Sans Serif"/>
            <a:cs typeface="Microsoft Sans Serif" panose="020B0604020202020204" pitchFamily="34" charset="0"/>
          </a:defRPr>
        </a:defPPr>
      </a:lstStyle>
    </a:txDef>
  </a:objectDefaults>
  <a:extraClrSchemeLst/>
  <a:extLst>
    <a:ext uri="{05A4C25C-085E-4340-85A3-A5531E510DB2}">
      <thm15:themeFamily xmlns:thm15="http://schemas.microsoft.com/office/thememl/2012/main" name="Presentation2" id="{95006C57-79FC-FF4E-85E7-EA0415E02935}" vid="{56D1AFDF-3421-BA4A-95A3-849B16377DAB}"/>
    </a:ext>
  </a:extLst>
</a:theme>
</file>

<file path=ppt/theme/theme6.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5" ma:contentTypeDescription="Create a new document." ma:contentTypeScope="" ma:versionID="a4d5eb2dd60bb989a4447a38efc115bf">
  <xsd:schema xmlns:xsd="http://www.w3.org/2001/XMLSchema" xmlns:xs="http://www.w3.org/2001/XMLSchema" xmlns:p="http://schemas.microsoft.com/office/2006/metadata/properties" xmlns:ns3="cc9c437c-ae0c-4066-8d90-a0f7de786127" xmlns:ns4="ba37140e-f4c5-4a6c-a9b4-20a691ce6c8a" targetNamespace="http://schemas.microsoft.com/office/2006/metadata/properties" ma:root="true" ma:fieldsID="f77c13f08fc17ec7a3ad2cb4e95cd2ab" ns3:_="" ns4:_="">
    <xsd:import namespace="cc9c437c-ae0c-4066-8d90-a0f7de786127"/>
    <xsd:import namespace="ba37140e-f4c5-4a6c-a9b4-20a691ce6c8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ba37140e-f4c5-4a6c-a9b4-20a691ce6c8a">
      <UserInfo>
        <DisplayName>Raheem Baig</DisplayName>
        <AccountId>20</AccountId>
        <AccountType/>
      </UserInfo>
      <UserInfo>
        <DisplayName>Maharajan Panchanathan</DisplayName>
        <AccountId>26</AccountId>
        <AccountType/>
      </UserInfo>
      <UserInfo>
        <DisplayName>Ramakrishna Karanam (Temp)</DisplayName>
        <AccountId>22</AccountId>
        <AccountType/>
      </UserInfo>
    </SharedWithUsers>
    <_activity xmlns="cc9c437c-ae0c-4066-8d90-a0f7de78612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E1048E-5F54-430D-A9AD-456295DCAB18}">
  <ds:schemaRefs>
    <ds:schemaRef ds:uri="ba37140e-f4c5-4a6c-a9b4-20a691ce6c8a"/>
    <ds:schemaRef ds:uri="cc9c437c-ae0c-4066-8d90-a0f7de78612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6B83210-CD36-4BED-B57A-9B9BC7BD7D30}">
  <ds:schemaRefs>
    <ds:schemaRef ds:uri="ba37140e-f4c5-4a6c-a9b4-20a691ce6c8a"/>
    <ds:schemaRef ds:uri="cc9c437c-ae0c-4066-8d90-a0f7de78612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20B9619-8C77-48E0-822F-1752E4325E66}">
  <ds:schemaRefs>
    <ds:schemaRef ds:uri="http://schemas.microsoft.com/sharepoint/v3/contenttype/forms"/>
  </ds:schemaRefs>
</ds:datastoreItem>
</file>

<file path=docMetadata/LabelInfo.xml><?xml version="1.0" encoding="utf-8"?>
<clbl:labelList xmlns:clbl="http://schemas.microsoft.com/office/2020/mipLabelMetadata">
  <clbl:label id="{98e9ba89-e1a1-4e38-9007-8bdabc25de1d}" enabled="0" method="" siteId="{98e9ba89-e1a1-4e38-9007-8bdabc25de1d}" removed="1"/>
</clbl:labelList>
</file>

<file path=docProps/app.xml><?xml version="1.0" encoding="utf-8"?>
<Properties xmlns="http://schemas.openxmlformats.org/officeDocument/2006/extended-properties" xmlns:vt="http://schemas.openxmlformats.org/officeDocument/2006/docPropsVTypes">
  <Template>2017_Qualcomm_16x9_Corporate_External_Template_12.13.2017_D</Template>
  <TotalTime>7916</TotalTime>
  <Words>637</Words>
  <Application>Microsoft Office PowerPoint</Application>
  <PresentationFormat>Widescreen</PresentationFormat>
  <Paragraphs>122</Paragraphs>
  <Slides>18</Slides>
  <Notes>17</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3" baseType="lpstr">
      <vt:lpstr>Arial</vt:lpstr>
      <vt:lpstr>Calibre Regular</vt:lpstr>
      <vt:lpstr>Calibri</vt:lpstr>
      <vt:lpstr>Century Gothic</vt:lpstr>
      <vt:lpstr>Courier New</vt:lpstr>
      <vt:lpstr>Microsoft Sans Serif</vt:lpstr>
      <vt:lpstr>Qualcomm Office Bold</vt:lpstr>
      <vt:lpstr>Qualcomm Office Regular</vt:lpstr>
      <vt:lpstr>Qualcomm Regular</vt:lpstr>
      <vt:lpstr>Qualcomm</vt:lpstr>
      <vt:lpstr>1_Qualcomm</vt:lpstr>
      <vt:lpstr>Qualcomm_Template_Standard_16x9_0506</vt:lpstr>
      <vt:lpstr>Qualcomm Executive External</vt:lpstr>
      <vt:lpstr>1_Qualcomm Executive External</vt:lpstr>
      <vt:lpstr>think-cell Slide</vt:lpstr>
      <vt:lpstr>2023 Summer Skill-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ina CE xxx Platform Report</dc:title>
  <dc:creator>Jane Chen</dc:creator>
  <cp:lastModifiedBy>Rayyan Baig</cp:lastModifiedBy>
  <cp:revision>24</cp:revision>
  <dcterms:created xsi:type="dcterms:W3CDTF">2018-02-06T02:13:06Z</dcterms:created>
  <dcterms:modified xsi:type="dcterms:W3CDTF">2023-08-21T16:0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dlc_DocIdItemGuid">
    <vt:lpwstr>923e3208-cd92-4e4a-bbeb-1954ac4a1bce</vt:lpwstr>
  </property>
  <property fmtid="{D5CDD505-2E9C-101B-9397-08002B2CF9AE}" pid="4" name="ContentTypeId">
    <vt:lpwstr>0x010100EB28163D68FE8E4D9361964FDD814FC4</vt:lpwstr>
  </property>
</Properties>
</file>